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6"/>
  </p:notesMasterIdLst>
  <p:sldIdLst>
    <p:sldId id="350" r:id="rId2"/>
    <p:sldId id="1152" r:id="rId3"/>
    <p:sldId id="397" r:id="rId4"/>
    <p:sldId id="1171" r:id="rId5"/>
    <p:sldId id="1172" r:id="rId6"/>
    <p:sldId id="1173" r:id="rId7"/>
    <p:sldId id="421" r:id="rId8"/>
    <p:sldId id="1181" r:id="rId9"/>
    <p:sldId id="1182" r:id="rId10"/>
    <p:sldId id="1176" r:id="rId11"/>
    <p:sldId id="1177" r:id="rId12"/>
    <p:sldId id="1192" r:id="rId13"/>
    <p:sldId id="1179" r:id="rId14"/>
    <p:sldId id="1180" r:id="rId15"/>
    <p:sldId id="1184" r:id="rId16"/>
    <p:sldId id="1183" r:id="rId17"/>
    <p:sldId id="1186" r:id="rId18"/>
    <p:sldId id="1188" r:id="rId19"/>
    <p:sldId id="1190" r:id="rId20"/>
    <p:sldId id="1191" r:id="rId21"/>
    <p:sldId id="1189" r:id="rId22"/>
    <p:sldId id="1060" r:id="rId23"/>
    <p:sldId id="1145" r:id="rId24"/>
    <p:sldId id="1146" r:id="rId25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C0A27F-CDEB-40D8-B77D-DBB27E470B13}" v="2044" dt="2022-11-16T13:39:19.7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103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E0C0A27F-CDEB-40D8-B77D-DBB27E470B13}"/>
    <pc:docChg chg="undo redo custSel addSld delSld modSld sldOrd">
      <pc:chgData name="Stina Ru" userId="a298bcda0a73aae4" providerId="LiveId" clId="{E0C0A27F-CDEB-40D8-B77D-DBB27E470B13}" dt="2022-11-22T13:17:38.224" v="14808" actId="20577"/>
      <pc:docMkLst>
        <pc:docMk/>
      </pc:docMkLst>
      <pc:sldChg chg="modSp mod">
        <pc:chgData name="Stina Ru" userId="a298bcda0a73aae4" providerId="LiveId" clId="{E0C0A27F-CDEB-40D8-B77D-DBB27E470B13}" dt="2022-11-22T13:14:54.165" v="14770" actId="20577"/>
        <pc:sldMkLst>
          <pc:docMk/>
          <pc:sldMk cId="175173122" sldId="350"/>
        </pc:sldMkLst>
        <pc:spChg chg="mod">
          <ac:chgData name="Stina Ru" userId="a298bcda0a73aae4" providerId="LiveId" clId="{E0C0A27F-CDEB-40D8-B77D-DBB27E470B13}" dt="2022-11-22T13:14:54.165" v="14770" actId="20577"/>
          <ac:spMkLst>
            <pc:docMk/>
            <pc:sldMk cId="175173122" sldId="350"/>
            <ac:spMk id="2" creationId="{00000000-0000-0000-0000-000000000000}"/>
          </ac:spMkLst>
        </pc:spChg>
      </pc:sldChg>
      <pc:sldChg chg="del">
        <pc:chgData name="Stina Ru" userId="a298bcda0a73aae4" providerId="LiveId" clId="{E0C0A27F-CDEB-40D8-B77D-DBB27E470B13}" dt="2022-11-14T22:00:41.919" v="3549" actId="47"/>
        <pc:sldMkLst>
          <pc:docMk/>
          <pc:sldMk cId="762852499" sldId="385"/>
        </pc:sldMkLst>
      </pc:sldChg>
      <pc:sldChg chg="addSp delSp modSp mod delAnim modAnim">
        <pc:chgData name="Stina Ru" userId="a298bcda0a73aae4" providerId="LiveId" clId="{E0C0A27F-CDEB-40D8-B77D-DBB27E470B13}" dt="2022-11-15T23:50:03.445" v="13554"/>
        <pc:sldMkLst>
          <pc:docMk/>
          <pc:sldMk cId="1525154466" sldId="397"/>
        </pc:sldMkLst>
        <pc:spChg chg="add mod">
          <ac:chgData name="Stina Ru" userId="a298bcda0a73aae4" providerId="LiveId" clId="{E0C0A27F-CDEB-40D8-B77D-DBB27E470B13}" dt="2022-11-14T19:56:59.247" v="230" actId="1076"/>
          <ac:spMkLst>
            <pc:docMk/>
            <pc:sldMk cId="1525154466" sldId="397"/>
            <ac:spMk id="2" creationId="{1C1F24AB-6A10-2A0C-E21F-420B31C1D1A7}"/>
          </ac:spMkLst>
        </pc:spChg>
        <pc:spChg chg="add del mod">
          <ac:chgData name="Stina Ru" userId="a298bcda0a73aae4" providerId="LiveId" clId="{E0C0A27F-CDEB-40D8-B77D-DBB27E470B13}" dt="2022-11-14T19:56:50.019" v="227" actId="478"/>
          <ac:spMkLst>
            <pc:docMk/>
            <pc:sldMk cId="1525154466" sldId="397"/>
            <ac:spMk id="3" creationId="{A24B5AED-5A28-B35E-FE20-0E0220C783FE}"/>
          </ac:spMkLst>
        </pc:spChg>
        <pc:spChg chg="add del mod">
          <ac:chgData name="Stina Ru" userId="a298bcda0a73aae4" providerId="LiveId" clId="{E0C0A27F-CDEB-40D8-B77D-DBB27E470B13}" dt="2022-11-14T19:56:52.506" v="228" actId="478"/>
          <ac:spMkLst>
            <pc:docMk/>
            <pc:sldMk cId="1525154466" sldId="397"/>
            <ac:spMk id="5" creationId="{E746D095-B0CD-824A-042C-2E42467D6761}"/>
          </ac:spMkLst>
        </pc:spChg>
        <pc:spChg chg="mod">
          <ac:chgData name="Stina Ru" userId="a298bcda0a73aae4" providerId="LiveId" clId="{E0C0A27F-CDEB-40D8-B77D-DBB27E470B13}" dt="2022-11-15T23:08:45.675" v="13080" actId="113"/>
          <ac:spMkLst>
            <pc:docMk/>
            <pc:sldMk cId="1525154466" sldId="397"/>
            <ac:spMk id="6" creationId="{070F7C74-9112-406B-A0CC-08F6DDA1D2AF}"/>
          </ac:spMkLst>
        </pc:spChg>
        <pc:spChg chg="add mod">
          <ac:chgData name="Stina Ru" userId="a298bcda0a73aae4" providerId="LiveId" clId="{E0C0A27F-CDEB-40D8-B77D-DBB27E470B13}" dt="2022-11-14T20:08:19.345" v="448" actId="1076"/>
          <ac:spMkLst>
            <pc:docMk/>
            <pc:sldMk cId="1525154466" sldId="397"/>
            <ac:spMk id="7" creationId="{742383C0-6A0B-2D1D-6231-F6A5EB7A3695}"/>
          </ac:spMkLst>
        </pc:spChg>
        <pc:spChg chg="add mod">
          <ac:chgData name="Stina Ru" userId="a298bcda0a73aae4" providerId="LiveId" clId="{E0C0A27F-CDEB-40D8-B77D-DBB27E470B13}" dt="2022-11-14T20:08:06.753" v="447" actId="1076"/>
          <ac:spMkLst>
            <pc:docMk/>
            <pc:sldMk cId="1525154466" sldId="397"/>
            <ac:spMk id="8" creationId="{46671CA2-8450-A50B-9895-FFDB4D3B386D}"/>
          </ac:spMkLst>
        </pc:spChg>
        <pc:spChg chg="add del mod">
          <ac:chgData name="Stina Ru" userId="a298bcda0a73aae4" providerId="LiveId" clId="{E0C0A27F-CDEB-40D8-B77D-DBB27E470B13}" dt="2022-11-14T20:01:50.056" v="351" actId="478"/>
          <ac:spMkLst>
            <pc:docMk/>
            <pc:sldMk cId="1525154466" sldId="397"/>
            <ac:spMk id="9" creationId="{6A004FF9-9589-D1AE-C43E-815F383FC603}"/>
          </ac:spMkLst>
        </pc:spChg>
        <pc:spChg chg="del">
          <ac:chgData name="Stina Ru" userId="a298bcda0a73aae4" providerId="LiveId" clId="{E0C0A27F-CDEB-40D8-B77D-DBB27E470B13}" dt="2022-11-14T19:45:27.327" v="17" actId="478"/>
          <ac:spMkLst>
            <pc:docMk/>
            <pc:sldMk cId="1525154466" sldId="397"/>
            <ac:spMk id="10" creationId="{2B73811D-2754-3742-7D6D-A3F722091B4A}"/>
          </ac:spMkLst>
        </pc:spChg>
        <pc:spChg chg="del">
          <ac:chgData name="Stina Ru" userId="a298bcda0a73aae4" providerId="LiveId" clId="{E0C0A27F-CDEB-40D8-B77D-DBB27E470B13}" dt="2022-11-14T19:45:23.768" v="16" actId="478"/>
          <ac:spMkLst>
            <pc:docMk/>
            <pc:sldMk cId="1525154466" sldId="397"/>
            <ac:spMk id="11" creationId="{B29C087C-2098-FF62-F786-8CFB4485148A}"/>
          </ac:spMkLst>
        </pc:spChg>
        <pc:spChg chg="mod">
          <ac:chgData name="Stina Ru" userId="a298bcda0a73aae4" providerId="LiveId" clId="{E0C0A27F-CDEB-40D8-B77D-DBB27E470B13}" dt="2022-11-14T19:45:17.366" v="14" actId="20577"/>
          <ac:spMkLst>
            <pc:docMk/>
            <pc:sldMk cId="1525154466" sldId="397"/>
            <ac:spMk id="12" creationId="{13B203F9-1E27-4E57-902E-B40C20ADA7DF}"/>
          </ac:spMkLst>
        </pc:spChg>
        <pc:spChg chg="add mod">
          <ac:chgData name="Stina Ru" userId="a298bcda0a73aae4" providerId="LiveId" clId="{E0C0A27F-CDEB-40D8-B77D-DBB27E470B13}" dt="2022-11-14T20:03:00.345" v="446" actId="1076"/>
          <ac:spMkLst>
            <pc:docMk/>
            <pc:sldMk cId="1525154466" sldId="397"/>
            <ac:spMk id="14" creationId="{F0284E5C-A6E0-1C74-C3F6-EF6FB57307FA}"/>
          </ac:spMkLst>
        </pc:spChg>
        <pc:spChg chg="add del mod">
          <ac:chgData name="Stina Ru" userId="a298bcda0a73aae4" providerId="LiveId" clId="{E0C0A27F-CDEB-40D8-B77D-DBB27E470B13}" dt="2022-11-14T20:08:38.833" v="450"/>
          <ac:spMkLst>
            <pc:docMk/>
            <pc:sldMk cId="1525154466" sldId="397"/>
            <ac:spMk id="15" creationId="{3A9532FF-1948-8FC8-E449-F8C8ECD861E4}"/>
          </ac:spMkLst>
        </pc:spChg>
      </pc:sldChg>
      <pc:sldChg chg="del">
        <pc:chgData name="Stina Ru" userId="a298bcda0a73aae4" providerId="LiveId" clId="{E0C0A27F-CDEB-40D8-B77D-DBB27E470B13}" dt="2022-11-14T22:00:45.309" v="3550" actId="47"/>
        <pc:sldMkLst>
          <pc:docMk/>
          <pc:sldMk cId="1926456335" sldId="401"/>
        </pc:sldMkLst>
      </pc:sldChg>
      <pc:sldChg chg="modSp mod modAnim">
        <pc:chgData name="Stina Ru" userId="a298bcda0a73aae4" providerId="LiveId" clId="{E0C0A27F-CDEB-40D8-B77D-DBB27E470B13}" dt="2022-11-16T09:47:23.154" v="13967" actId="20577"/>
        <pc:sldMkLst>
          <pc:docMk/>
          <pc:sldMk cId="617495542" sldId="421"/>
        </pc:sldMkLst>
        <pc:spChg chg="mod">
          <ac:chgData name="Stina Ru" userId="a298bcda0a73aae4" providerId="LiveId" clId="{E0C0A27F-CDEB-40D8-B77D-DBB27E470B13}" dt="2022-11-16T09:47:23.154" v="13967" actId="20577"/>
          <ac:spMkLst>
            <pc:docMk/>
            <pc:sldMk cId="617495542" sldId="421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4T21:29:25.578" v="2843" actId="20577"/>
          <ac:spMkLst>
            <pc:docMk/>
            <pc:sldMk cId="617495542" sldId="421"/>
            <ac:spMk id="12" creationId="{13B203F9-1E27-4E57-902E-B40C20ADA7DF}"/>
          </ac:spMkLst>
        </pc:spChg>
      </pc:sldChg>
      <pc:sldChg chg="addSp delSp modSp add mod ord modAnim">
        <pc:chgData name="Stina Ru" userId="a298bcda0a73aae4" providerId="LiveId" clId="{E0C0A27F-CDEB-40D8-B77D-DBB27E470B13}" dt="2022-11-15T23:45:09.495" v="13398"/>
        <pc:sldMkLst>
          <pc:docMk/>
          <pc:sldMk cId="3666530782" sldId="1060"/>
        </pc:sldMkLst>
        <pc:spChg chg="mod">
          <ac:chgData name="Stina Ru" userId="a298bcda0a73aae4" providerId="LiveId" clId="{E0C0A27F-CDEB-40D8-B77D-DBB27E470B13}" dt="2022-11-15T23:40:47.962" v="13339" actId="20577"/>
          <ac:spMkLst>
            <pc:docMk/>
            <pc:sldMk cId="3666530782" sldId="1060"/>
            <ac:spMk id="5" creationId="{78DE16BD-7D73-695A-4D49-2D041D78A0DC}"/>
          </ac:spMkLst>
        </pc:spChg>
        <pc:spChg chg="mod">
          <ac:chgData name="Stina Ru" userId="a298bcda0a73aae4" providerId="LiveId" clId="{E0C0A27F-CDEB-40D8-B77D-DBB27E470B13}" dt="2022-11-15T22:23:45.080" v="12529" actId="20577"/>
          <ac:spMkLst>
            <pc:docMk/>
            <pc:sldMk cId="3666530782" sldId="1060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2:28:53.507" v="12663" actId="14100"/>
          <ac:picMkLst>
            <pc:docMk/>
            <pc:sldMk cId="3666530782" sldId="1060"/>
            <ac:picMk id="7" creationId="{A42052C5-4474-1B89-A3A1-0B6A1ACC2E65}"/>
          </ac:picMkLst>
        </pc:picChg>
        <pc:cxnChg chg="del">
          <ac:chgData name="Stina Ru" userId="a298bcda0a73aae4" providerId="LiveId" clId="{E0C0A27F-CDEB-40D8-B77D-DBB27E470B13}" dt="2022-11-15T22:28:43.936" v="12658" actId="478"/>
          <ac:cxnSpMkLst>
            <pc:docMk/>
            <pc:sldMk cId="3666530782" sldId="1060"/>
            <ac:cxnSpMk id="22" creationId="{C0E6EFEF-D381-77ED-9E5D-2A4152405F1C}"/>
          </ac:cxnSpMkLst>
        </pc:cxnChg>
        <pc:cxnChg chg="del">
          <ac:chgData name="Stina Ru" userId="a298bcda0a73aae4" providerId="LiveId" clId="{E0C0A27F-CDEB-40D8-B77D-DBB27E470B13}" dt="2022-11-15T22:28:39.396" v="12656" actId="478"/>
          <ac:cxnSpMkLst>
            <pc:docMk/>
            <pc:sldMk cId="3666530782" sldId="1060"/>
            <ac:cxnSpMk id="23" creationId="{67DB311E-88E1-F24E-037A-5315DA95963F}"/>
          </ac:cxnSpMkLst>
        </pc:cxnChg>
        <pc:cxnChg chg="del mod">
          <ac:chgData name="Stina Ru" userId="a298bcda0a73aae4" providerId="LiveId" clId="{E0C0A27F-CDEB-40D8-B77D-DBB27E470B13}" dt="2022-11-15T22:28:42.157" v="12657" actId="478"/>
          <ac:cxnSpMkLst>
            <pc:docMk/>
            <pc:sldMk cId="3666530782" sldId="1060"/>
            <ac:cxnSpMk id="25" creationId="{2A83C54B-DBFD-DC0A-C48F-3CE6E7D5609F}"/>
          </ac:cxnSpMkLst>
        </pc:cxnChg>
        <pc:cxnChg chg="del">
          <ac:chgData name="Stina Ru" userId="a298bcda0a73aae4" providerId="LiveId" clId="{E0C0A27F-CDEB-40D8-B77D-DBB27E470B13}" dt="2022-11-15T22:28:47.157" v="12660" actId="478"/>
          <ac:cxnSpMkLst>
            <pc:docMk/>
            <pc:sldMk cId="3666530782" sldId="1060"/>
            <ac:cxnSpMk id="26" creationId="{9A318CAE-2BDA-5DBE-CC2E-49DB34E31235}"/>
          </ac:cxnSpMkLst>
        </pc:cxnChg>
        <pc:cxnChg chg="del">
          <ac:chgData name="Stina Ru" userId="a298bcda0a73aae4" providerId="LiveId" clId="{E0C0A27F-CDEB-40D8-B77D-DBB27E470B13}" dt="2022-11-15T22:28:45.631" v="12659" actId="478"/>
          <ac:cxnSpMkLst>
            <pc:docMk/>
            <pc:sldMk cId="3666530782" sldId="1060"/>
            <ac:cxnSpMk id="27" creationId="{838C01AF-EEF3-DC2C-BC64-599936EF0EF9}"/>
          </ac:cxnSpMkLst>
        </pc:cxnChg>
      </pc:sldChg>
      <pc:sldChg chg="modSp add del mod">
        <pc:chgData name="Stina Ru" userId="a298bcda0a73aae4" providerId="LiveId" clId="{E0C0A27F-CDEB-40D8-B77D-DBB27E470B13}" dt="2022-11-15T22:21:49.480" v="12481" actId="47"/>
        <pc:sldMkLst>
          <pc:docMk/>
          <pc:sldMk cId="1416254991" sldId="1067"/>
        </pc:sldMkLst>
        <pc:graphicFrameChg chg="modGraphic">
          <ac:chgData name="Stina Ru" userId="a298bcda0a73aae4" providerId="LiveId" clId="{E0C0A27F-CDEB-40D8-B77D-DBB27E470B13}" dt="2022-11-15T21:31:16.106" v="12161" actId="20577"/>
          <ac:graphicFrameMkLst>
            <pc:docMk/>
            <pc:sldMk cId="1416254991" sldId="1067"/>
            <ac:graphicFrameMk id="7" creationId="{A95F1844-6D9A-D5B8-1EB8-1A63419AA9BB}"/>
          </ac:graphicFrameMkLst>
        </pc:graphicFrameChg>
      </pc:sldChg>
      <pc:sldChg chg="modSp mod">
        <pc:chgData name="Stina Ru" userId="a298bcda0a73aae4" providerId="LiveId" clId="{E0C0A27F-CDEB-40D8-B77D-DBB27E470B13}" dt="2022-11-22T13:17:38.224" v="14808" actId="20577"/>
        <pc:sldMkLst>
          <pc:docMk/>
          <pc:sldMk cId="2230897240" sldId="1145"/>
        </pc:sldMkLst>
        <pc:spChg chg="mod">
          <ac:chgData name="Stina Ru" userId="a298bcda0a73aae4" providerId="LiveId" clId="{E0C0A27F-CDEB-40D8-B77D-DBB27E470B13}" dt="2022-11-22T13:17:38.224" v="14808" actId="20577"/>
          <ac:spMkLst>
            <pc:docMk/>
            <pc:sldMk cId="2230897240" sldId="1145"/>
            <ac:spMk id="2" creationId="{2E8E55A0-73B3-4565-BA58-ACE5F64229D6}"/>
          </ac:spMkLst>
        </pc:spChg>
        <pc:spChg chg="mod">
          <ac:chgData name="Stina Ru" userId="a298bcda0a73aae4" providerId="LiveId" clId="{E0C0A27F-CDEB-40D8-B77D-DBB27E470B13}" dt="2022-11-18T07:09:11.089" v="14694" actId="20577"/>
          <ac:spMkLst>
            <pc:docMk/>
            <pc:sldMk cId="2230897240" sldId="1145"/>
            <ac:spMk id="9" creationId="{28CD78BF-FD21-4273-AC08-8CC747F9071D}"/>
          </ac:spMkLst>
        </pc:spChg>
      </pc:sldChg>
      <pc:sldChg chg="modSp mod">
        <pc:chgData name="Stina Ru" userId="a298bcda0a73aae4" providerId="LiveId" clId="{E0C0A27F-CDEB-40D8-B77D-DBB27E470B13}" dt="2022-11-22T13:15:43.061" v="14798"/>
        <pc:sldMkLst>
          <pc:docMk/>
          <pc:sldMk cId="294796903" sldId="1146"/>
        </pc:sldMkLst>
        <pc:spChg chg="mod">
          <ac:chgData name="Stina Ru" userId="a298bcda0a73aae4" providerId="LiveId" clId="{E0C0A27F-CDEB-40D8-B77D-DBB27E470B13}" dt="2022-11-22T13:15:43.061" v="14798"/>
          <ac:spMkLst>
            <pc:docMk/>
            <pc:sldMk cId="294796903" sldId="1146"/>
            <ac:spMk id="9" creationId="{28CD78BF-FD21-4273-AC08-8CC747F9071D}"/>
          </ac:spMkLst>
        </pc:spChg>
      </pc:sldChg>
      <pc:sldChg chg="del">
        <pc:chgData name="Stina Ru" userId="a298bcda0a73aae4" providerId="LiveId" clId="{E0C0A27F-CDEB-40D8-B77D-DBB27E470B13}" dt="2022-11-14T22:00:45.899" v="3551" actId="47"/>
        <pc:sldMkLst>
          <pc:docMk/>
          <pc:sldMk cId="3307485543" sldId="1149"/>
        </pc:sldMkLst>
      </pc:sldChg>
      <pc:sldChg chg="del">
        <pc:chgData name="Stina Ru" userId="a298bcda0a73aae4" providerId="LiveId" clId="{E0C0A27F-CDEB-40D8-B77D-DBB27E470B13}" dt="2022-11-14T22:00:46.379" v="3552" actId="47"/>
        <pc:sldMkLst>
          <pc:docMk/>
          <pc:sldMk cId="1422436860" sldId="1150"/>
        </pc:sldMkLst>
      </pc:sldChg>
      <pc:sldChg chg="modSp mod">
        <pc:chgData name="Stina Ru" userId="a298bcda0a73aae4" providerId="LiveId" clId="{E0C0A27F-CDEB-40D8-B77D-DBB27E470B13}" dt="2022-11-14T22:43:53.604" v="4291" actId="20577"/>
        <pc:sldMkLst>
          <pc:docMk/>
          <pc:sldMk cId="2773955374" sldId="1152"/>
        </pc:sldMkLst>
        <pc:spChg chg="mod">
          <ac:chgData name="Stina Ru" userId="a298bcda0a73aae4" providerId="LiveId" clId="{E0C0A27F-CDEB-40D8-B77D-DBB27E470B13}" dt="2022-11-14T22:43:53.604" v="4291" actId="20577"/>
          <ac:spMkLst>
            <pc:docMk/>
            <pc:sldMk cId="2773955374" sldId="1152"/>
            <ac:spMk id="2" creationId="{2E8E55A0-73B3-4565-BA58-ACE5F64229D6}"/>
          </ac:spMkLst>
        </pc:spChg>
      </pc:sldChg>
      <pc:sldChg chg="del">
        <pc:chgData name="Stina Ru" userId="a298bcda0a73aae4" providerId="LiveId" clId="{E0C0A27F-CDEB-40D8-B77D-DBB27E470B13}" dt="2022-11-14T22:00:46.909" v="3553" actId="47"/>
        <pc:sldMkLst>
          <pc:docMk/>
          <pc:sldMk cId="1460499646" sldId="1153"/>
        </pc:sldMkLst>
      </pc:sldChg>
      <pc:sldChg chg="del">
        <pc:chgData name="Stina Ru" userId="a298bcda0a73aae4" providerId="LiveId" clId="{E0C0A27F-CDEB-40D8-B77D-DBB27E470B13}" dt="2022-11-14T22:00:47.419" v="3554" actId="47"/>
        <pc:sldMkLst>
          <pc:docMk/>
          <pc:sldMk cId="1219339874" sldId="1155"/>
        </pc:sldMkLst>
      </pc:sldChg>
      <pc:sldChg chg="del">
        <pc:chgData name="Stina Ru" userId="a298bcda0a73aae4" providerId="LiveId" clId="{E0C0A27F-CDEB-40D8-B77D-DBB27E470B13}" dt="2022-11-14T22:00:47.879" v="3555" actId="47"/>
        <pc:sldMkLst>
          <pc:docMk/>
          <pc:sldMk cId="2880983043" sldId="1156"/>
        </pc:sldMkLst>
      </pc:sldChg>
      <pc:sldChg chg="del">
        <pc:chgData name="Stina Ru" userId="a298bcda0a73aae4" providerId="LiveId" clId="{E0C0A27F-CDEB-40D8-B77D-DBB27E470B13}" dt="2022-11-14T22:00:58.889" v="3568" actId="47"/>
        <pc:sldMkLst>
          <pc:docMk/>
          <pc:sldMk cId="929550619" sldId="1157"/>
        </pc:sldMkLst>
      </pc:sldChg>
      <pc:sldChg chg="del">
        <pc:chgData name="Stina Ru" userId="a298bcda0a73aae4" providerId="LiveId" clId="{E0C0A27F-CDEB-40D8-B77D-DBB27E470B13}" dt="2022-11-14T22:00:48.349" v="3556" actId="47"/>
        <pc:sldMkLst>
          <pc:docMk/>
          <pc:sldMk cId="630112750" sldId="1158"/>
        </pc:sldMkLst>
      </pc:sldChg>
      <pc:sldChg chg="del">
        <pc:chgData name="Stina Ru" userId="a298bcda0a73aae4" providerId="LiveId" clId="{E0C0A27F-CDEB-40D8-B77D-DBB27E470B13}" dt="2022-11-14T22:00:49.139" v="3557" actId="47"/>
        <pc:sldMkLst>
          <pc:docMk/>
          <pc:sldMk cId="1670886728" sldId="1159"/>
        </pc:sldMkLst>
      </pc:sldChg>
      <pc:sldChg chg="del">
        <pc:chgData name="Stina Ru" userId="a298bcda0a73aae4" providerId="LiveId" clId="{E0C0A27F-CDEB-40D8-B77D-DBB27E470B13}" dt="2022-11-14T22:00:49.699" v="3558" actId="47"/>
        <pc:sldMkLst>
          <pc:docMk/>
          <pc:sldMk cId="2989420872" sldId="1160"/>
        </pc:sldMkLst>
      </pc:sldChg>
      <pc:sldChg chg="del">
        <pc:chgData name="Stina Ru" userId="a298bcda0a73aae4" providerId="LiveId" clId="{E0C0A27F-CDEB-40D8-B77D-DBB27E470B13}" dt="2022-11-14T22:00:57.373" v="3566" actId="47"/>
        <pc:sldMkLst>
          <pc:docMk/>
          <pc:sldMk cId="3486118451" sldId="1161"/>
        </pc:sldMkLst>
      </pc:sldChg>
      <pc:sldChg chg="del">
        <pc:chgData name="Stina Ru" userId="a298bcda0a73aae4" providerId="LiveId" clId="{E0C0A27F-CDEB-40D8-B77D-DBB27E470B13}" dt="2022-11-14T22:00:58.159" v="3567" actId="47"/>
        <pc:sldMkLst>
          <pc:docMk/>
          <pc:sldMk cId="2576354716" sldId="1162"/>
        </pc:sldMkLst>
      </pc:sldChg>
      <pc:sldChg chg="del">
        <pc:chgData name="Stina Ru" userId="a298bcda0a73aae4" providerId="LiveId" clId="{E0C0A27F-CDEB-40D8-B77D-DBB27E470B13}" dt="2022-11-14T22:00:50.129" v="3559" actId="47"/>
        <pc:sldMkLst>
          <pc:docMk/>
          <pc:sldMk cId="434037657" sldId="1163"/>
        </pc:sldMkLst>
      </pc:sldChg>
      <pc:sldChg chg="del">
        <pc:chgData name="Stina Ru" userId="a298bcda0a73aae4" providerId="LiveId" clId="{E0C0A27F-CDEB-40D8-B77D-DBB27E470B13}" dt="2022-11-14T22:00:51.092" v="3561" actId="47"/>
        <pc:sldMkLst>
          <pc:docMk/>
          <pc:sldMk cId="509083308" sldId="1164"/>
        </pc:sldMkLst>
      </pc:sldChg>
      <pc:sldChg chg="del">
        <pc:chgData name="Stina Ru" userId="a298bcda0a73aae4" providerId="LiveId" clId="{E0C0A27F-CDEB-40D8-B77D-DBB27E470B13}" dt="2022-11-14T22:00:52.939" v="3564" actId="47"/>
        <pc:sldMkLst>
          <pc:docMk/>
          <pc:sldMk cId="2946764223" sldId="1165"/>
        </pc:sldMkLst>
      </pc:sldChg>
      <pc:sldChg chg="del">
        <pc:chgData name="Stina Ru" userId="a298bcda0a73aae4" providerId="LiveId" clId="{E0C0A27F-CDEB-40D8-B77D-DBB27E470B13}" dt="2022-11-14T22:00:53.459" v="3565" actId="47"/>
        <pc:sldMkLst>
          <pc:docMk/>
          <pc:sldMk cId="3949056672" sldId="1167"/>
        </pc:sldMkLst>
      </pc:sldChg>
      <pc:sldChg chg="del">
        <pc:chgData name="Stina Ru" userId="a298bcda0a73aae4" providerId="LiveId" clId="{E0C0A27F-CDEB-40D8-B77D-DBB27E470B13}" dt="2022-11-14T22:00:51.639" v="3562" actId="47"/>
        <pc:sldMkLst>
          <pc:docMk/>
          <pc:sldMk cId="4267735869" sldId="1168"/>
        </pc:sldMkLst>
      </pc:sldChg>
      <pc:sldChg chg="del">
        <pc:chgData name="Stina Ru" userId="a298bcda0a73aae4" providerId="LiveId" clId="{E0C0A27F-CDEB-40D8-B77D-DBB27E470B13}" dt="2022-11-14T22:00:52.369" v="3563" actId="47"/>
        <pc:sldMkLst>
          <pc:docMk/>
          <pc:sldMk cId="3836152254" sldId="1169"/>
        </pc:sldMkLst>
      </pc:sldChg>
      <pc:sldChg chg="del">
        <pc:chgData name="Stina Ru" userId="a298bcda0a73aae4" providerId="LiveId" clId="{E0C0A27F-CDEB-40D8-B77D-DBB27E470B13}" dt="2022-11-14T22:00:50.574" v="3560" actId="47"/>
        <pc:sldMkLst>
          <pc:docMk/>
          <pc:sldMk cId="3423309617" sldId="1170"/>
        </pc:sldMkLst>
      </pc:sldChg>
      <pc:sldChg chg="delSp modSp add mod ord">
        <pc:chgData name="Stina Ru" userId="a298bcda0a73aae4" providerId="LiveId" clId="{E0C0A27F-CDEB-40D8-B77D-DBB27E470B13}" dt="2022-11-22T13:15:25.486" v="14774"/>
        <pc:sldMkLst>
          <pc:docMk/>
          <pc:sldMk cId="2769914659" sldId="1171"/>
        </pc:sldMkLst>
        <pc:spChg chg="del">
          <ac:chgData name="Stina Ru" userId="a298bcda0a73aae4" providerId="LiveId" clId="{E0C0A27F-CDEB-40D8-B77D-DBB27E470B13}" dt="2022-11-14T20:08:54.274" v="459" actId="478"/>
          <ac:spMkLst>
            <pc:docMk/>
            <pc:sldMk cId="2769914659" sldId="1171"/>
            <ac:spMk id="2" creationId="{1C1F24AB-6A10-2A0C-E21F-420B31C1D1A7}"/>
          </ac:spMkLst>
        </pc:spChg>
        <pc:spChg chg="mod">
          <ac:chgData name="Stina Ru" userId="a298bcda0a73aae4" providerId="LiveId" clId="{E0C0A27F-CDEB-40D8-B77D-DBB27E470B13}" dt="2022-11-16T09:48:30.860" v="14013" actId="113"/>
          <ac:spMkLst>
            <pc:docMk/>
            <pc:sldMk cId="2769914659" sldId="1171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4T20:08:57.747" v="460" actId="478"/>
          <ac:spMkLst>
            <pc:docMk/>
            <pc:sldMk cId="2769914659" sldId="1171"/>
            <ac:spMk id="7" creationId="{742383C0-6A0B-2D1D-6231-F6A5EB7A3695}"/>
          </ac:spMkLst>
        </pc:spChg>
        <pc:spChg chg="del">
          <ac:chgData name="Stina Ru" userId="a298bcda0a73aae4" providerId="LiveId" clId="{E0C0A27F-CDEB-40D8-B77D-DBB27E470B13}" dt="2022-11-14T20:09:01.174" v="461" actId="478"/>
          <ac:spMkLst>
            <pc:docMk/>
            <pc:sldMk cId="2769914659" sldId="1171"/>
            <ac:spMk id="8" creationId="{46671CA2-8450-A50B-9895-FFDB4D3B386D}"/>
          </ac:spMkLst>
        </pc:spChg>
        <pc:spChg chg="mod">
          <ac:chgData name="Stina Ru" userId="a298bcda0a73aae4" providerId="LiveId" clId="{E0C0A27F-CDEB-40D8-B77D-DBB27E470B13}" dt="2022-11-14T20:08:49.972" v="458" actId="20577"/>
          <ac:spMkLst>
            <pc:docMk/>
            <pc:sldMk cId="2769914659" sldId="1171"/>
            <ac:spMk id="12" creationId="{13B203F9-1E27-4E57-902E-B40C20ADA7DF}"/>
          </ac:spMkLst>
        </pc:spChg>
        <pc:spChg chg="del">
          <ac:chgData name="Stina Ru" userId="a298bcda0a73aae4" providerId="LiveId" clId="{E0C0A27F-CDEB-40D8-B77D-DBB27E470B13}" dt="2022-11-14T20:09:05.559" v="462" actId="478"/>
          <ac:spMkLst>
            <pc:docMk/>
            <pc:sldMk cId="2769914659" sldId="1171"/>
            <ac:spMk id="14" creationId="{F0284E5C-A6E0-1C74-C3F6-EF6FB57307FA}"/>
          </ac:spMkLst>
        </pc:spChg>
      </pc:sldChg>
      <pc:sldChg chg="addSp modSp add mod modAnim">
        <pc:chgData name="Stina Ru" userId="a298bcda0a73aae4" providerId="LiveId" clId="{E0C0A27F-CDEB-40D8-B77D-DBB27E470B13}" dt="2022-11-16T10:35:14.734" v="14573" actId="5793"/>
        <pc:sldMkLst>
          <pc:docMk/>
          <pc:sldMk cId="230669161" sldId="1172"/>
        </pc:sldMkLst>
        <pc:spChg chg="add mod">
          <ac:chgData name="Stina Ru" userId="a298bcda0a73aae4" providerId="LiveId" clId="{E0C0A27F-CDEB-40D8-B77D-DBB27E470B13}" dt="2022-11-16T10:31:23.209" v="14433" actId="115"/>
          <ac:spMkLst>
            <pc:docMk/>
            <pc:sldMk cId="230669161" sldId="1172"/>
            <ac:spMk id="3" creationId="{F8CF851A-51FE-D81E-F23B-7EC2A915BD04}"/>
          </ac:spMkLst>
        </pc:spChg>
        <pc:spChg chg="add mod">
          <ac:chgData name="Stina Ru" userId="a298bcda0a73aae4" providerId="LiveId" clId="{E0C0A27F-CDEB-40D8-B77D-DBB27E470B13}" dt="2022-11-16T10:35:14.734" v="14573" actId="5793"/>
          <ac:spMkLst>
            <pc:docMk/>
            <pc:sldMk cId="230669161" sldId="1172"/>
            <ac:spMk id="5" creationId="{E9ABC3B8-8757-DF71-FC12-E928DA1695F3}"/>
          </ac:spMkLst>
        </pc:spChg>
        <pc:spChg chg="mod">
          <ac:chgData name="Stina Ru" userId="a298bcda0a73aae4" providerId="LiveId" clId="{E0C0A27F-CDEB-40D8-B77D-DBB27E470B13}" dt="2022-11-14T21:02:07.174" v="1899" actId="6549"/>
          <ac:spMkLst>
            <pc:docMk/>
            <pc:sldMk cId="230669161" sldId="1172"/>
            <ac:spMk id="6" creationId="{070F7C74-9112-406B-A0CC-08F6DDA1D2AF}"/>
          </ac:spMkLst>
        </pc:spChg>
        <pc:spChg chg="add mod">
          <ac:chgData name="Stina Ru" userId="a298bcda0a73aae4" providerId="LiveId" clId="{E0C0A27F-CDEB-40D8-B77D-DBB27E470B13}" dt="2022-11-16T10:31:18.424" v="14432" actId="115"/>
          <ac:spMkLst>
            <pc:docMk/>
            <pc:sldMk cId="230669161" sldId="1172"/>
            <ac:spMk id="7" creationId="{4FB9648E-58A5-0D3B-2977-BBD9586C21A0}"/>
          </ac:spMkLst>
        </pc:spChg>
        <pc:spChg chg="add mod">
          <ac:chgData name="Stina Ru" userId="a298bcda0a73aae4" providerId="LiveId" clId="{E0C0A27F-CDEB-40D8-B77D-DBB27E470B13}" dt="2022-11-16T10:31:35.171" v="14448" actId="115"/>
          <ac:spMkLst>
            <pc:docMk/>
            <pc:sldMk cId="230669161" sldId="1172"/>
            <ac:spMk id="8" creationId="{4F905D68-E591-A401-C624-46145F6C5A6D}"/>
          </ac:spMkLst>
        </pc:spChg>
        <pc:spChg chg="mod">
          <ac:chgData name="Stina Ru" userId="a298bcda0a73aae4" providerId="LiveId" clId="{E0C0A27F-CDEB-40D8-B77D-DBB27E470B13}" dt="2022-11-14T20:17:55.628" v="900" actId="1076"/>
          <ac:spMkLst>
            <pc:docMk/>
            <pc:sldMk cId="230669161" sldId="1172"/>
            <ac:spMk id="12" creationId="{13B203F9-1E27-4E57-902E-B40C20ADA7DF}"/>
          </ac:spMkLst>
        </pc:spChg>
        <pc:graphicFrameChg chg="add mod modGraphic">
          <ac:chgData name="Stina Ru" userId="a298bcda0a73aae4" providerId="LiveId" clId="{E0C0A27F-CDEB-40D8-B77D-DBB27E470B13}" dt="2022-11-16T10:31:02.861" v="14430" actId="20577"/>
          <ac:graphicFrameMkLst>
            <pc:docMk/>
            <pc:sldMk cId="230669161" sldId="1172"/>
            <ac:graphicFrameMk id="2" creationId="{0CF6E46B-0D8C-D8FF-C687-D2D03AF307AB}"/>
          </ac:graphicFrameMkLst>
        </pc:graphicFrameChg>
      </pc:sldChg>
      <pc:sldChg chg="addSp modSp add mod modAnim">
        <pc:chgData name="Stina Ru" userId="a298bcda0a73aae4" providerId="LiveId" clId="{E0C0A27F-CDEB-40D8-B77D-DBB27E470B13}" dt="2022-11-16T10:14:30.701" v="14249" actId="113"/>
        <pc:sldMkLst>
          <pc:docMk/>
          <pc:sldMk cId="925530439" sldId="1173"/>
        </pc:sldMkLst>
        <pc:spChg chg="add mod">
          <ac:chgData name="Stina Ru" userId="a298bcda0a73aae4" providerId="LiveId" clId="{E0C0A27F-CDEB-40D8-B77D-DBB27E470B13}" dt="2022-11-15T23:12:25.008" v="13084" actId="1076"/>
          <ac:spMkLst>
            <pc:docMk/>
            <pc:sldMk cId="925530439" sldId="1173"/>
            <ac:spMk id="2" creationId="{63B03B44-3425-A281-56B2-2166C157D8CA}"/>
          </ac:spMkLst>
        </pc:spChg>
        <pc:spChg chg="add mod">
          <ac:chgData name="Stina Ru" userId="a298bcda0a73aae4" providerId="LiveId" clId="{E0C0A27F-CDEB-40D8-B77D-DBB27E470B13}" dt="2022-11-15T23:12:20.205" v="13083" actId="1076"/>
          <ac:spMkLst>
            <pc:docMk/>
            <pc:sldMk cId="925530439" sldId="1173"/>
            <ac:spMk id="3" creationId="{19AA0819-B20B-0278-6068-186C9BE8D6D6}"/>
          </ac:spMkLst>
        </pc:spChg>
        <pc:spChg chg="add mod">
          <ac:chgData name="Stina Ru" userId="a298bcda0a73aae4" providerId="LiveId" clId="{E0C0A27F-CDEB-40D8-B77D-DBB27E470B13}" dt="2022-11-16T10:14:30.701" v="14249" actId="113"/>
          <ac:spMkLst>
            <pc:docMk/>
            <pc:sldMk cId="925530439" sldId="1173"/>
            <ac:spMk id="5" creationId="{C2A2CB79-9189-29FD-BF06-B0085DCB94E8}"/>
          </ac:spMkLst>
        </pc:spChg>
        <pc:spChg chg="mod">
          <ac:chgData name="Stina Ru" userId="a298bcda0a73aae4" providerId="LiveId" clId="{E0C0A27F-CDEB-40D8-B77D-DBB27E470B13}" dt="2022-11-16T09:32:51.148" v="13678"/>
          <ac:spMkLst>
            <pc:docMk/>
            <pc:sldMk cId="925530439" sldId="1173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6T10:14:19.698" v="14248" actId="20577"/>
          <ac:spMkLst>
            <pc:docMk/>
            <pc:sldMk cId="925530439" sldId="1173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3:12:52.996" v="13087" actId="1076"/>
          <ac:picMkLst>
            <pc:docMk/>
            <pc:sldMk cId="925530439" sldId="1173"/>
            <ac:picMk id="8" creationId="{39DE8061-E6C1-1A60-F7B5-83CA38147FFC}"/>
          </ac:picMkLst>
        </pc:picChg>
        <pc:picChg chg="add mod">
          <ac:chgData name="Stina Ru" userId="a298bcda0a73aae4" providerId="LiveId" clId="{E0C0A27F-CDEB-40D8-B77D-DBB27E470B13}" dt="2022-11-15T23:12:39.936" v="13086" actId="1076"/>
          <ac:picMkLst>
            <pc:docMk/>
            <pc:sldMk cId="925530439" sldId="1173"/>
            <ac:picMk id="9" creationId="{937C345C-FFD4-30EF-E810-4921AF376E5A}"/>
          </ac:picMkLst>
        </pc:picChg>
        <pc:picChg chg="add mod">
          <ac:chgData name="Stina Ru" userId="a298bcda0a73aae4" providerId="LiveId" clId="{E0C0A27F-CDEB-40D8-B77D-DBB27E470B13}" dt="2022-11-15T23:12:33.390" v="13085" actId="1076"/>
          <ac:picMkLst>
            <pc:docMk/>
            <pc:sldMk cId="925530439" sldId="1173"/>
            <ac:picMk id="11" creationId="{E167CE48-87AF-D636-4851-0D4D06F76AD2}"/>
          </ac:picMkLst>
        </pc:picChg>
      </pc:sldChg>
      <pc:sldChg chg="modSp add del mod">
        <pc:chgData name="Stina Ru" userId="a298bcda0a73aae4" providerId="LiveId" clId="{E0C0A27F-CDEB-40D8-B77D-DBB27E470B13}" dt="2022-11-15T11:46:25.171" v="6308" actId="47"/>
        <pc:sldMkLst>
          <pc:docMk/>
          <pc:sldMk cId="3714989070" sldId="1174"/>
        </pc:sldMkLst>
        <pc:spChg chg="mod">
          <ac:chgData name="Stina Ru" userId="a298bcda0a73aae4" providerId="LiveId" clId="{E0C0A27F-CDEB-40D8-B77D-DBB27E470B13}" dt="2022-11-14T22:44:13.483" v="4292" actId="20577"/>
          <ac:spMkLst>
            <pc:docMk/>
            <pc:sldMk cId="3714989070" sldId="1174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4T22:15:09.679" v="3808" actId="1076"/>
          <ac:spMkLst>
            <pc:docMk/>
            <pc:sldMk cId="3714989070" sldId="1174"/>
            <ac:spMk id="12" creationId="{13B203F9-1E27-4E57-902E-B40C20ADA7DF}"/>
          </ac:spMkLst>
        </pc:spChg>
      </pc:sldChg>
      <pc:sldChg chg="add del">
        <pc:chgData name="Stina Ru" userId="a298bcda0a73aae4" providerId="LiveId" clId="{E0C0A27F-CDEB-40D8-B77D-DBB27E470B13}" dt="2022-11-15T16:58:40.207" v="7948"/>
        <pc:sldMkLst>
          <pc:docMk/>
          <pc:sldMk cId="2663212848" sldId="1175"/>
        </pc:sldMkLst>
      </pc:sldChg>
      <pc:sldChg chg="addSp delSp modSp add del mod delAnim modAnim">
        <pc:chgData name="Stina Ru" userId="a298bcda0a73aae4" providerId="LiveId" clId="{E0C0A27F-CDEB-40D8-B77D-DBB27E470B13}" dt="2022-11-15T16:55:23.930" v="7946" actId="47"/>
        <pc:sldMkLst>
          <pc:docMk/>
          <pc:sldMk cId="3901504131" sldId="1175"/>
        </pc:sldMkLst>
        <pc:spChg chg="add mod">
          <ac:chgData name="Stina Ru" userId="a298bcda0a73aae4" providerId="LiveId" clId="{E0C0A27F-CDEB-40D8-B77D-DBB27E470B13}" dt="2022-11-14T22:45:40.399" v="4389" actId="1076"/>
          <ac:spMkLst>
            <pc:docMk/>
            <pc:sldMk cId="3901504131" sldId="1175"/>
            <ac:spMk id="2" creationId="{A4533D2F-ABAE-6B17-5B20-67DE5CF01B6C}"/>
          </ac:spMkLst>
        </pc:spChg>
        <pc:spChg chg="add mod">
          <ac:chgData name="Stina Ru" userId="a298bcda0a73aae4" providerId="LiveId" clId="{E0C0A27F-CDEB-40D8-B77D-DBB27E470B13}" dt="2022-11-14T22:45:48.434" v="4391" actId="1076"/>
          <ac:spMkLst>
            <pc:docMk/>
            <pc:sldMk cId="3901504131" sldId="1175"/>
            <ac:spMk id="3" creationId="{504218D8-091B-A4F7-E34E-1B682A4D23FB}"/>
          </ac:spMkLst>
        </pc:spChg>
        <pc:spChg chg="add mod">
          <ac:chgData name="Stina Ru" userId="a298bcda0a73aae4" providerId="LiveId" clId="{E0C0A27F-CDEB-40D8-B77D-DBB27E470B13}" dt="2022-11-14T22:45:52.353" v="4392" actId="1076"/>
          <ac:spMkLst>
            <pc:docMk/>
            <pc:sldMk cId="3901504131" sldId="1175"/>
            <ac:spMk id="5" creationId="{94182616-E33A-2E97-90CF-62A423AA459D}"/>
          </ac:spMkLst>
        </pc:spChg>
        <pc:spChg chg="mod">
          <ac:chgData name="Stina Ru" userId="a298bcda0a73aae4" providerId="LiveId" clId="{E0C0A27F-CDEB-40D8-B77D-DBB27E470B13}" dt="2022-11-14T22:49:10.329" v="4464" actId="6549"/>
          <ac:spMkLst>
            <pc:docMk/>
            <pc:sldMk cId="3901504131" sldId="1175"/>
            <ac:spMk id="6" creationId="{070F7C74-9112-406B-A0CC-08F6DDA1D2AF}"/>
          </ac:spMkLst>
        </pc:spChg>
        <pc:spChg chg="add mod">
          <ac:chgData name="Stina Ru" userId="a298bcda0a73aae4" providerId="LiveId" clId="{E0C0A27F-CDEB-40D8-B77D-DBB27E470B13}" dt="2022-11-14T22:45:32.994" v="4388" actId="14100"/>
          <ac:spMkLst>
            <pc:docMk/>
            <pc:sldMk cId="3901504131" sldId="1175"/>
            <ac:spMk id="7" creationId="{E8EF12BA-8E49-8E6D-46DE-F6A73C3A4E17}"/>
          </ac:spMkLst>
        </pc:spChg>
        <pc:spChg chg="add mod">
          <ac:chgData name="Stina Ru" userId="a298bcda0a73aae4" providerId="LiveId" clId="{E0C0A27F-CDEB-40D8-B77D-DBB27E470B13}" dt="2022-11-14T22:49:42.868" v="4470" actId="6549"/>
          <ac:spMkLst>
            <pc:docMk/>
            <pc:sldMk cId="3901504131" sldId="1175"/>
            <ac:spMk id="8" creationId="{F1188126-E254-9DD8-F266-41C2975266C5}"/>
          </ac:spMkLst>
        </pc:spChg>
        <pc:spChg chg="add del mod">
          <ac:chgData name="Stina Ru" userId="a298bcda0a73aae4" providerId="LiveId" clId="{E0C0A27F-CDEB-40D8-B77D-DBB27E470B13}" dt="2022-11-14T22:49:26.517" v="4465" actId="478"/>
          <ac:spMkLst>
            <pc:docMk/>
            <pc:sldMk cId="3901504131" sldId="1175"/>
            <ac:spMk id="9" creationId="{D602B0A8-D969-40D9-C7EC-B2C7A90CEAEA}"/>
          </ac:spMkLst>
        </pc:spChg>
        <pc:spChg chg="add mod">
          <ac:chgData name="Stina Ru" userId="a298bcda0a73aae4" providerId="LiveId" clId="{E0C0A27F-CDEB-40D8-B77D-DBB27E470B13}" dt="2022-11-14T22:46:53.413" v="4435" actId="20577"/>
          <ac:spMkLst>
            <pc:docMk/>
            <pc:sldMk cId="3901504131" sldId="1175"/>
            <ac:spMk id="10" creationId="{0BADA581-22B8-DB56-B959-409225AB6DE1}"/>
          </ac:spMkLst>
        </pc:spChg>
        <pc:spChg chg="mod">
          <ac:chgData name="Stina Ru" userId="a298bcda0a73aae4" providerId="LiveId" clId="{E0C0A27F-CDEB-40D8-B77D-DBB27E470B13}" dt="2022-11-14T22:42:37.890" v="4261" actId="1076"/>
          <ac:spMkLst>
            <pc:docMk/>
            <pc:sldMk cId="3901504131" sldId="1175"/>
            <ac:spMk id="12" creationId="{13B203F9-1E27-4E57-902E-B40C20ADA7DF}"/>
          </ac:spMkLst>
        </pc:spChg>
      </pc:sldChg>
      <pc:sldChg chg="addSp delSp modSp add mod modAnim">
        <pc:chgData name="Stina Ru" userId="a298bcda0a73aae4" providerId="LiveId" clId="{E0C0A27F-CDEB-40D8-B77D-DBB27E470B13}" dt="2022-11-18T07:07:58.948" v="14693" actId="6549"/>
        <pc:sldMkLst>
          <pc:docMk/>
          <pc:sldMk cId="1406652163" sldId="1176"/>
        </pc:sldMkLst>
        <pc:spChg chg="add mod">
          <ac:chgData name="Stina Ru" userId="a298bcda0a73aae4" providerId="LiveId" clId="{E0C0A27F-CDEB-40D8-B77D-DBB27E470B13}" dt="2022-11-18T07:07:58.948" v="14693" actId="6549"/>
          <ac:spMkLst>
            <pc:docMk/>
            <pc:sldMk cId="1406652163" sldId="1176"/>
            <ac:spMk id="2" creationId="{30F2381C-8CFA-0F52-B2F7-124A65167000}"/>
          </ac:spMkLst>
        </pc:spChg>
        <pc:spChg chg="add del mod">
          <ac:chgData name="Stina Ru" userId="a298bcda0a73aae4" providerId="LiveId" clId="{E0C0A27F-CDEB-40D8-B77D-DBB27E470B13}" dt="2022-11-16T09:59:42.728" v="14114" actId="767"/>
          <ac:spMkLst>
            <pc:docMk/>
            <pc:sldMk cId="1406652163" sldId="1176"/>
            <ac:spMk id="3" creationId="{31A55A72-C5F7-735C-4BF9-0C50AB8B778F}"/>
          </ac:spMkLst>
        </pc:spChg>
        <pc:spChg chg="add del mod">
          <ac:chgData name="Stina Ru" userId="a298bcda0a73aae4" providerId="LiveId" clId="{E0C0A27F-CDEB-40D8-B77D-DBB27E470B13}" dt="2022-11-14T22:59:22.502" v="4945" actId="478"/>
          <ac:spMkLst>
            <pc:docMk/>
            <pc:sldMk cId="1406652163" sldId="1176"/>
            <ac:spMk id="3" creationId="{C150D889-7822-4ACE-7938-73891C3CB38D}"/>
          </ac:spMkLst>
        </pc:spChg>
        <pc:spChg chg="add mod">
          <ac:chgData name="Stina Ru" userId="a298bcda0a73aae4" providerId="LiveId" clId="{E0C0A27F-CDEB-40D8-B77D-DBB27E470B13}" dt="2022-11-15T23:59:43.638" v="13585" actId="14100"/>
          <ac:spMkLst>
            <pc:docMk/>
            <pc:sldMk cId="1406652163" sldId="1176"/>
            <ac:spMk id="5" creationId="{616FEA3B-09E1-9F33-B41A-B29E754A024A}"/>
          </ac:spMkLst>
        </pc:spChg>
        <pc:spChg chg="mod">
          <ac:chgData name="Stina Ru" userId="a298bcda0a73aae4" providerId="LiveId" clId="{E0C0A27F-CDEB-40D8-B77D-DBB27E470B13}" dt="2022-11-16T10:00:13.226" v="14132" actId="20577"/>
          <ac:spMkLst>
            <pc:docMk/>
            <pc:sldMk cId="1406652163" sldId="1176"/>
            <ac:spMk id="6" creationId="{070F7C74-9112-406B-A0CC-08F6DDA1D2AF}"/>
          </ac:spMkLst>
        </pc:spChg>
        <pc:spChg chg="add del mod">
          <ac:chgData name="Stina Ru" userId="a298bcda0a73aae4" providerId="LiveId" clId="{E0C0A27F-CDEB-40D8-B77D-DBB27E470B13}" dt="2022-11-16T09:59:41.456" v="14108"/>
          <ac:spMkLst>
            <pc:docMk/>
            <pc:sldMk cId="1406652163" sldId="1176"/>
            <ac:spMk id="7" creationId="{D15F766C-6C47-D895-83E5-151C3F20A5AA}"/>
          </ac:spMkLst>
        </pc:spChg>
        <pc:spChg chg="add mod">
          <ac:chgData name="Stina Ru" userId="a298bcda0a73aae4" providerId="LiveId" clId="{E0C0A27F-CDEB-40D8-B77D-DBB27E470B13}" dt="2022-11-16T09:59:53.542" v="14126" actId="20577"/>
          <ac:spMkLst>
            <pc:docMk/>
            <pc:sldMk cId="1406652163" sldId="1176"/>
            <ac:spMk id="8" creationId="{37469D35-9425-E33F-4399-F4AA0DD471D4}"/>
          </ac:spMkLst>
        </pc:spChg>
        <pc:spChg chg="add mod">
          <ac:chgData name="Stina Ru" userId="a298bcda0a73aae4" providerId="LiveId" clId="{E0C0A27F-CDEB-40D8-B77D-DBB27E470B13}" dt="2022-11-16T10:00:19.283" v="14133" actId="1076"/>
          <ac:spMkLst>
            <pc:docMk/>
            <pc:sldMk cId="1406652163" sldId="1176"/>
            <ac:spMk id="9" creationId="{877E7F1A-59E9-34ED-94CD-7F72C59B08D8}"/>
          </ac:spMkLst>
        </pc:spChg>
        <pc:spChg chg="mod">
          <ac:chgData name="Stina Ru" userId="a298bcda0a73aae4" providerId="LiveId" clId="{E0C0A27F-CDEB-40D8-B77D-DBB27E470B13}" dt="2022-11-14T22:56:24.263" v="4805" actId="1076"/>
          <ac:spMkLst>
            <pc:docMk/>
            <pc:sldMk cId="1406652163" sldId="1176"/>
            <ac:spMk id="12" creationId="{13B203F9-1E27-4E57-902E-B40C20ADA7DF}"/>
          </ac:spMkLst>
        </pc:spChg>
      </pc:sldChg>
      <pc:sldChg chg="addSp delSp modSp add mod ord delAnim modAnim">
        <pc:chgData name="Stina Ru" userId="a298bcda0a73aae4" providerId="LiveId" clId="{E0C0A27F-CDEB-40D8-B77D-DBB27E470B13}" dt="2022-11-16T10:00:50.646" v="14136"/>
        <pc:sldMkLst>
          <pc:docMk/>
          <pc:sldMk cId="649540894" sldId="1177"/>
        </pc:sldMkLst>
        <pc:spChg chg="del">
          <ac:chgData name="Stina Ru" userId="a298bcda0a73aae4" providerId="LiveId" clId="{E0C0A27F-CDEB-40D8-B77D-DBB27E470B13}" dt="2022-11-15T10:32:12.603" v="4968" actId="478"/>
          <ac:spMkLst>
            <pc:docMk/>
            <pc:sldMk cId="649540894" sldId="1177"/>
            <ac:spMk id="2" creationId="{A4533D2F-ABAE-6B17-5B20-67DE5CF01B6C}"/>
          </ac:spMkLst>
        </pc:spChg>
        <pc:spChg chg="del">
          <ac:chgData name="Stina Ru" userId="a298bcda0a73aae4" providerId="LiveId" clId="{E0C0A27F-CDEB-40D8-B77D-DBB27E470B13}" dt="2022-11-15T10:32:05.278" v="4965" actId="478"/>
          <ac:spMkLst>
            <pc:docMk/>
            <pc:sldMk cId="649540894" sldId="1177"/>
            <ac:spMk id="3" creationId="{504218D8-091B-A4F7-E34E-1B682A4D23FB}"/>
          </ac:spMkLst>
        </pc:spChg>
        <pc:spChg chg="del">
          <ac:chgData name="Stina Ru" userId="a298bcda0a73aae4" providerId="LiveId" clId="{E0C0A27F-CDEB-40D8-B77D-DBB27E470B13}" dt="2022-11-15T10:32:06.926" v="4966" actId="478"/>
          <ac:spMkLst>
            <pc:docMk/>
            <pc:sldMk cId="649540894" sldId="1177"/>
            <ac:spMk id="5" creationId="{94182616-E33A-2E97-90CF-62A423AA459D}"/>
          </ac:spMkLst>
        </pc:spChg>
        <pc:spChg chg="mod">
          <ac:chgData name="Stina Ru" userId="a298bcda0a73aae4" providerId="LiveId" clId="{E0C0A27F-CDEB-40D8-B77D-DBB27E470B13}" dt="2022-11-15T11:11:36.547" v="5722" actId="1076"/>
          <ac:spMkLst>
            <pc:docMk/>
            <pc:sldMk cId="649540894" sldId="1177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5T10:32:10.090" v="4967" actId="478"/>
          <ac:spMkLst>
            <pc:docMk/>
            <pc:sldMk cId="649540894" sldId="1177"/>
            <ac:spMk id="7" creationId="{E8EF12BA-8E49-8E6D-46DE-F6A73C3A4E17}"/>
          </ac:spMkLst>
        </pc:spChg>
        <pc:spChg chg="del">
          <ac:chgData name="Stina Ru" userId="a298bcda0a73aae4" providerId="LiveId" clId="{E0C0A27F-CDEB-40D8-B77D-DBB27E470B13}" dt="2022-11-15T10:31:57.916" v="4963" actId="478"/>
          <ac:spMkLst>
            <pc:docMk/>
            <pc:sldMk cId="649540894" sldId="1177"/>
            <ac:spMk id="8" creationId="{F1188126-E254-9DD8-F266-41C2975266C5}"/>
          </ac:spMkLst>
        </pc:spChg>
        <pc:spChg chg="del">
          <ac:chgData name="Stina Ru" userId="a298bcda0a73aae4" providerId="LiveId" clId="{E0C0A27F-CDEB-40D8-B77D-DBB27E470B13}" dt="2022-11-15T10:32:00.517" v="4964" actId="478"/>
          <ac:spMkLst>
            <pc:docMk/>
            <pc:sldMk cId="649540894" sldId="1177"/>
            <ac:spMk id="10" creationId="{0BADA581-22B8-DB56-B959-409225AB6DE1}"/>
          </ac:spMkLst>
        </pc:spChg>
        <pc:spChg chg="mod">
          <ac:chgData name="Stina Ru" userId="a298bcda0a73aae4" providerId="LiveId" clId="{E0C0A27F-CDEB-40D8-B77D-DBB27E470B13}" dt="2022-11-15T11:11:39.407" v="5723" actId="1076"/>
          <ac:spMkLst>
            <pc:docMk/>
            <pc:sldMk cId="649540894" sldId="1177"/>
            <ac:spMk id="12" creationId="{13B203F9-1E27-4E57-902E-B40C20ADA7DF}"/>
          </ac:spMkLst>
        </pc:spChg>
        <pc:spChg chg="add del mod">
          <ac:chgData name="Stina Ru" userId="a298bcda0a73aae4" providerId="LiveId" clId="{E0C0A27F-CDEB-40D8-B77D-DBB27E470B13}" dt="2022-11-15T23:59:49.489" v="13586" actId="478"/>
          <ac:spMkLst>
            <pc:docMk/>
            <pc:sldMk cId="649540894" sldId="1177"/>
            <ac:spMk id="14" creationId="{72BC414F-53AD-75E9-CB16-F505BB686EF0}"/>
          </ac:spMkLst>
        </pc:spChg>
        <pc:spChg chg="add mod">
          <ac:chgData name="Stina Ru" userId="a298bcda0a73aae4" providerId="LiveId" clId="{E0C0A27F-CDEB-40D8-B77D-DBB27E470B13}" dt="2022-11-16T00:00:53.525" v="13611" actId="1076"/>
          <ac:spMkLst>
            <pc:docMk/>
            <pc:sldMk cId="649540894" sldId="1177"/>
            <ac:spMk id="15" creationId="{5860D3ED-F60B-CAB7-B33D-C71CCDAB9FC5}"/>
          </ac:spMkLst>
        </pc:spChg>
        <pc:spChg chg="add mod">
          <ac:chgData name="Stina Ru" userId="a298bcda0a73aae4" providerId="LiveId" clId="{E0C0A27F-CDEB-40D8-B77D-DBB27E470B13}" dt="2022-11-16T00:00:37.373" v="13598" actId="14100"/>
          <ac:spMkLst>
            <pc:docMk/>
            <pc:sldMk cId="649540894" sldId="1177"/>
            <ac:spMk id="16" creationId="{AE209F6B-6286-7C74-64E7-34E7FA0012D1}"/>
          </ac:spMkLst>
        </pc:spChg>
        <pc:graphicFrameChg chg="add del mod">
          <ac:chgData name="Stina Ru" userId="a298bcda0a73aae4" providerId="LiveId" clId="{E0C0A27F-CDEB-40D8-B77D-DBB27E470B13}" dt="2022-11-15T10:32:42.222" v="4972" actId="478"/>
          <ac:graphicFrameMkLst>
            <pc:docMk/>
            <pc:sldMk cId="649540894" sldId="1177"/>
            <ac:graphicFrameMk id="9" creationId="{02CFE6F9-C653-7B16-E0D4-D74D3DCFC9CF}"/>
          </ac:graphicFrameMkLst>
        </pc:graphicFrameChg>
        <pc:graphicFrameChg chg="add mod modGraphic">
          <ac:chgData name="Stina Ru" userId="a298bcda0a73aae4" providerId="LiveId" clId="{E0C0A27F-CDEB-40D8-B77D-DBB27E470B13}" dt="2022-11-16T00:00:42.568" v="13610" actId="20577"/>
          <ac:graphicFrameMkLst>
            <pc:docMk/>
            <pc:sldMk cId="649540894" sldId="1177"/>
            <ac:graphicFrameMk id="11" creationId="{87F5F837-24AC-D2E6-5FA2-3ABC7112968B}"/>
          </ac:graphicFrameMkLst>
        </pc:graphicFrameChg>
      </pc:sldChg>
      <pc:sldChg chg="modSp add del mod">
        <pc:chgData name="Stina Ru" userId="a298bcda0a73aae4" providerId="LiveId" clId="{E0C0A27F-CDEB-40D8-B77D-DBB27E470B13}" dt="2022-11-15T11:41:22.825" v="6261" actId="47"/>
        <pc:sldMkLst>
          <pc:docMk/>
          <pc:sldMk cId="1309109168" sldId="1178"/>
        </pc:sldMkLst>
        <pc:graphicFrameChg chg="modGraphic">
          <ac:chgData name="Stina Ru" userId="a298bcda0a73aae4" providerId="LiveId" clId="{E0C0A27F-CDEB-40D8-B77D-DBB27E470B13}" dt="2022-11-15T11:41:09.586" v="6260" actId="2164"/>
          <ac:graphicFrameMkLst>
            <pc:docMk/>
            <pc:sldMk cId="1309109168" sldId="1178"/>
            <ac:graphicFrameMk id="11" creationId="{87F5F837-24AC-D2E6-5FA2-3ABC7112968B}"/>
          </ac:graphicFrameMkLst>
        </pc:graphicFrameChg>
      </pc:sldChg>
      <pc:sldChg chg="delSp modSp add del mod ord delAnim">
        <pc:chgData name="Stina Ru" userId="a298bcda0a73aae4" providerId="LiveId" clId="{E0C0A27F-CDEB-40D8-B77D-DBB27E470B13}" dt="2022-11-15T17:05:12.365" v="8151" actId="47"/>
        <pc:sldMkLst>
          <pc:docMk/>
          <pc:sldMk cId="2566188675" sldId="1178"/>
        </pc:sldMkLst>
        <pc:spChg chg="del">
          <ac:chgData name="Stina Ru" userId="a298bcda0a73aae4" providerId="LiveId" clId="{E0C0A27F-CDEB-40D8-B77D-DBB27E470B13}" dt="2022-11-15T11:43:01.054" v="6303" actId="478"/>
          <ac:spMkLst>
            <pc:docMk/>
            <pc:sldMk cId="2566188675" sldId="1178"/>
            <ac:spMk id="2" creationId="{A4533D2F-ABAE-6B17-5B20-67DE5CF01B6C}"/>
          </ac:spMkLst>
        </pc:spChg>
        <pc:spChg chg="del">
          <ac:chgData name="Stina Ru" userId="a298bcda0a73aae4" providerId="LiveId" clId="{E0C0A27F-CDEB-40D8-B77D-DBB27E470B13}" dt="2022-11-15T11:43:04.009" v="6304" actId="478"/>
          <ac:spMkLst>
            <pc:docMk/>
            <pc:sldMk cId="2566188675" sldId="1178"/>
            <ac:spMk id="3" creationId="{504218D8-091B-A4F7-E34E-1B682A4D23FB}"/>
          </ac:spMkLst>
        </pc:spChg>
        <pc:spChg chg="del">
          <ac:chgData name="Stina Ru" userId="a298bcda0a73aae4" providerId="LiveId" clId="{E0C0A27F-CDEB-40D8-B77D-DBB27E470B13}" dt="2022-11-15T11:43:10.315" v="6307" actId="478"/>
          <ac:spMkLst>
            <pc:docMk/>
            <pc:sldMk cId="2566188675" sldId="1178"/>
            <ac:spMk id="5" creationId="{94182616-E33A-2E97-90CF-62A423AA459D}"/>
          </ac:spMkLst>
        </pc:spChg>
        <pc:spChg chg="mod">
          <ac:chgData name="Stina Ru" userId="a298bcda0a73aae4" providerId="LiveId" clId="{E0C0A27F-CDEB-40D8-B77D-DBB27E470B13}" dt="2022-11-15T11:42:53.747" v="6301" actId="20577"/>
          <ac:spMkLst>
            <pc:docMk/>
            <pc:sldMk cId="2566188675" sldId="1178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5T11:42:57.790" v="6302" actId="478"/>
          <ac:spMkLst>
            <pc:docMk/>
            <pc:sldMk cId="2566188675" sldId="1178"/>
            <ac:spMk id="7" creationId="{E8EF12BA-8E49-8E6D-46DE-F6A73C3A4E17}"/>
          </ac:spMkLst>
        </pc:spChg>
        <pc:spChg chg="del">
          <ac:chgData name="Stina Ru" userId="a298bcda0a73aae4" providerId="LiveId" clId="{E0C0A27F-CDEB-40D8-B77D-DBB27E470B13}" dt="2022-11-15T11:43:06.344" v="6305" actId="478"/>
          <ac:spMkLst>
            <pc:docMk/>
            <pc:sldMk cId="2566188675" sldId="1178"/>
            <ac:spMk id="8" creationId="{F1188126-E254-9DD8-F266-41C2975266C5}"/>
          </ac:spMkLst>
        </pc:spChg>
        <pc:spChg chg="del">
          <ac:chgData name="Stina Ru" userId="a298bcda0a73aae4" providerId="LiveId" clId="{E0C0A27F-CDEB-40D8-B77D-DBB27E470B13}" dt="2022-11-15T11:43:08.216" v="6306" actId="478"/>
          <ac:spMkLst>
            <pc:docMk/>
            <pc:sldMk cId="2566188675" sldId="1178"/>
            <ac:spMk id="10" creationId="{0BADA581-22B8-DB56-B959-409225AB6DE1}"/>
          </ac:spMkLst>
        </pc:spChg>
        <pc:spChg chg="mod">
          <ac:chgData name="Stina Ru" userId="a298bcda0a73aae4" providerId="LiveId" clId="{E0C0A27F-CDEB-40D8-B77D-DBB27E470B13}" dt="2022-11-15T11:42:51.144" v="6300" actId="20577"/>
          <ac:spMkLst>
            <pc:docMk/>
            <pc:sldMk cId="2566188675" sldId="1178"/>
            <ac:spMk id="12" creationId="{13B203F9-1E27-4E57-902E-B40C20ADA7DF}"/>
          </ac:spMkLst>
        </pc:spChg>
      </pc:sldChg>
      <pc:sldChg chg="addSp delSp modSp add del mod modAnim">
        <pc:chgData name="Stina Ru" userId="a298bcda0a73aae4" providerId="LiveId" clId="{E0C0A27F-CDEB-40D8-B77D-DBB27E470B13}" dt="2022-11-16T10:59:06.141" v="14643" actId="20577"/>
        <pc:sldMkLst>
          <pc:docMk/>
          <pc:sldMk cId="1818595926" sldId="1179"/>
        </pc:sldMkLst>
        <pc:spChg chg="mod">
          <ac:chgData name="Stina Ru" userId="a298bcda0a73aae4" providerId="LiveId" clId="{E0C0A27F-CDEB-40D8-B77D-DBB27E470B13}" dt="2022-11-16T10:59:06.141" v="14643" actId="20577"/>
          <ac:spMkLst>
            <pc:docMk/>
            <pc:sldMk cId="1818595926" sldId="1179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5T16:37:51.443" v="7725" actId="1076"/>
          <ac:spMkLst>
            <pc:docMk/>
            <pc:sldMk cId="1818595926" sldId="1179"/>
            <ac:spMk id="12" creationId="{13B203F9-1E27-4E57-902E-B40C20ADA7DF}"/>
          </ac:spMkLst>
        </pc:spChg>
        <pc:picChg chg="add del mod">
          <ac:chgData name="Stina Ru" userId="a298bcda0a73aae4" providerId="LiveId" clId="{E0C0A27F-CDEB-40D8-B77D-DBB27E470B13}" dt="2022-11-15T12:03:12.822" v="6435" actId="478"/>
          <ac:picMkLst>
            <pc:docMk/>
            <pc:sldMk cId="1818595926" sldId="1179"/>
            <ac:picMk id="3" creationId="{70944B20-3D34-54B4-E2F6-C7CA44C80541}"/>
          </ac:picMkLst>
        </pc:picChg>
        <pc:picChg chg="add mod">
          <ac:chgData name="Stina Ru" userId="a298bcda0a73aae4" providerId="LiveId" clId="{E0C0A27F-CDEB-40D8-B77D-DBB27E470B13}" dt="2022-11-16T10:06:11.007" v="14177" actId="1076"/>
          <ac:picMkLst>
            <pc:docMk/>
            <pc:sldMk cId="1818595926" sldId="1179"/>
            <ac:picMk id="3" creationId="{7E2F0AC4-4612-4366-43C3-63E854FD5690}"/>
          </ac:picMkLst>
        </pc:picChg>
        <pc:picChg chg="add mod">
          <ac:chgData name="Stina Ru" userId="a298bcda0a73aae4" providerId="LiveId" clId="{E0C0A27F-CDEB-40D8-B77D-DBB27E470B13}" dt="2022-11-16T10:03:13.838" v="14140" actId="1076"/>
          <ac:picMkLst>
            <pc:docMk/>
            <pc:sldMk cId="1818595926" sldId="1179"/>
            <ac:picMk id="7" creationId="{00EC5ED2-96AA-B71D-D304-5C74D51DDFE9}"/>
          </ac:picMkLst>
        </pc:picChg>
        <pc:picChg chg="add mod">
          <ac:chgData name="Stina Ru" userId="a298bcda0a73aae4" providerId="LiveId" clId="{E0C0A27F-CDEB-40D8-B77D-DBB27E470B13}" dt="2022-11-16T10:03:20.976" v="14143" actId="1076"/>
          <ac:picMkLst>
            <pc:docMk/>
            <pc:sldMk cId="1818595926" sldId="1179"/>
            <ac:picMk id="8" creationId="{44E5098C-0C3B-026B-F70E-97DA774BE140}"/>
          </ac:picMkLst>
        </pc:picChg>
      </pc:sldChg>
      <pc:sldChg chg="addSp delSp modSp add mod modAnim">
        <pc:chgData name="Stina Ru" userId="a298bcda0a73aae4" providerId="LiveId" clId="{E0C0A27F-CDEB-40D8-B77D-DBB27E470B13}" dt="2022-11-16T10:24:34.911" v="14339" actId="1076"/>
        <pc:sldMkLst>
          <pc:docMk/>
          <pc:sldMk cId="1844519722" sldId="1180"/>
        </pc:sldMkLst>
        <pc:spChg chg="add mod">
          <ac:chgData name="Stina Ru" userId="a298bcda0a73aae4" providerId="LiveId" clId="{E0C0A27F-CDEB-40D8-B77D-DBB27E470B13}" dt="2022-11-16T10:23:59.943" v="14330" actId="1076"/>
          <ac:spMkLst>
            <pc:docMk/>
            <pc:sldMk cId="1844519722" sldId="1180"/>
            <ac:spMk id="2" creationId="{54E8ADC5-D054-0EA8-3F70-647C142205D9}"/>
          </ac:spMkLst>
        </pc:spChg>
        <pc:spChg chg="add mod">
          <ac:chgData name="Stina Ru" userId="a298bcda0a73aae4" providerId="LiveId" clId="{E0C0A27F-CDEB-40D8-B77D-DBB27E470B13}" dt="2022-11-16T10:24:34.911" v="14339" actId="1076"/>
          <ac:spMkLst>
            <pc:docMk/>
            <pc:sldMk cId="1844519722" sldId="1180"/>
            <ac:spMk id="5" creationId="{ECC92FFF-FE87-B310-C406-E320C64FA3E7}"/>
          </ac:spMkLst>
        </pc:spChg>
        <pc:spChg chg="mod">
          <ac:chgData name="Stina Ru" userId="a298bcda0a73aae4" providerId="LiveId" clId="{E0C0A27F-CDEB-40D8-B77D-DBB27E470B13}" dt="2022-11-16T10:24:08.435" v="14333" actId="21"/>
          <ac:spMkLst>
            <pc:docMk/>
            <pc:sldMk cId="1844519722" sldId="1180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6T10:19:09.561" v="14251" actId="1076"/>
          <ac:spMkLst>
            <pc:docMk/>
            <pc:sldMk cId="1844519722" sldId="1180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3:26:18.972" v="13188" actId="1076"/>
          <ac:picMkLst>
            <pc:docMk/>
            <pc:sldMk cId="1844519722" sldId="1180"/>
            <ac:picMk id="3" creationId="{8E743C91-C8AD-C30E-AD38-324720C02A01}"/>
          </ac:picMkLst>
        </pc:picChg>
        <pc:picChg chg="del mod">
          <ac:chgData name="Stina Ru" userId="a298bcda0a73aae4" providerId="LiveId" clId="{E0C0A27F-CDEB-40D8-B77D-DBB27E470B13}" dt="2022-11-15T12:14:56.316" v="6546" actId="478"/>
          <ac:picMkLst>
            <pc:docMk/>
            <pc:sldMk cId="1844519722" sldId="1180"/>
            <ac:picMk id="7" creationId="{00EC5ED2-96AA-B71D-D304-5C74D51DDFE9}"/>
          </ac:picMkLst>
        </pc:picChg>
      </pc:sldChg>
      <pc:sldChg chg="modSp add mod">
        <pc:chgData name="Stina Ru" userId="a298bcda0a73aae4" providerId="LiveId" clId="{E0C0A27F-CDEB-40D8-B77D-DBB27E470B13}" dt="2022-11-15T16:36:42.380" v="7720" actId="20577"/>
        <pc:sldMkLst>
          <pc:docMk/>
          <pc:sldMk cId="2461071583" sldId="1181"/>
        </pc:sldMkLst>
        <pc:spChg chg="mod">
          <ac:chgData name="Stina Ru" userId="a298bcda0a73aae4" providerId="LiveId" clId="{E0C0A27F-CDEB-40D8-B77D-DBB27E470B13}" dt="2022-11-15T16:36:42.380" v="7720" actId="20577"/>
          <ac:spMkLst>
            <pc:docMk/>
            <pc:sldMk cId="2461071583" sldId="1181"/>
            <ac:spMk id="2" creationId="{2E8E55A0-73B3-4565-BA58-ACE5F64229D6}"/>
          </ac:spMkLst>
        </pc:spChg>
      </pc:sldChg>
      <pc:sldChg chg="modSp add mod">
        <pc:chgData name="Stina Ru" userId="a298bcda0a73aae4" providerId="LiveId" clId="{E0C0A27F-CDEB-40D8-B77D-DBB27E470B13}" dt="2022-11-16T10:32:54.188" v="14472" actId="14100"/>
        <pc:sldMkLst>
          <pc:docMk/>
          <pc:sldMk cId="1753963648" sldId="1182"/>
        </pc:sldMkLst>
        <pc:spChg chg="mod">
          <ac:chgData name="Stina Ru" userId="a298bcda0a73aae4" providerId="LiveId" clId="{E0C0A27F-CDEB-40D8-B77D-DBB27E470B13}" dt="2022-11-15T23:16:57.077" v="13150" actId="1076"/>
          <ac:spMkLst>
            <pc:docMk/>
            <pc:sldMk cId="1753963648" sldId="1182"/>
            <ac:spMk id="2" creationId="{A4533D2F-ABAE-6B17-5B20-67DE5CF01B6C}"/>
          </ac:spMkLst>
        </pc:spChg>
        <pc:spChg chg="mod">
          <ac:chgData name="Stina Ru" userId="a298bcda0a73aae4" providerId="LiveId" clId="{E0C0A27F-CDEB-40D8-B77D-DBB27E470B13}" dt="2022-11-15T23:17:03.135" v="13152" actId="1076"/>
          <ac:spMkLst>
            <pc:docMk/>
            <pc:sldMk cId="1753963648" sldId="1182"/>
            <ac:spMk id="3" creationId="{504218D8-091B-A4F7-E34E-1B682A4D23FB}"/>
          </ac:spMkLst>
        </pc:spChg>
        <pc:spChg chg="mod">
          <ac:chgData name="Stina Ru" userId="a298bcda0a73aae4" providerId="LiveId" clId="{E0C0A27F-CDEB-40D8-B77D-DBB27E470B13}" dt="2022-11-15T23:17:06.496" v="13153" actId="1076"/>
          <ac:spMkLst>
            <pc:docMk/>
            <pc:sldMk cId="1753963648" sldId="1182"/>
            <ac:spMk id="5" creationId="{94182616-E33A-2E97-90CF-62A423AA459D}"/>
          </ac:spMkLst>
        </pc:spChg>
        <pc:spChg chg="mod">
          <ac:chgData name="Stina Ru" userId="a298bcda0a73aae4" providerId="LiveId" clId="{E0C0A27F-CDEB-40D8-B77D-DBB27E470B13}" dt="2022-11-16T09:56:09.739" v="14026" actId="20577"/>
          <ac:spMkLst>
            <pc:docMk/>
            <pc:sldMk cId="1753963648" sldId="1182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5T23:16:53.936" v="13149" actId="1076"/>
          <ac:spMkLst>
            <pc:docMk/>
            <pc:sldMk cId="1753963648" sldId="1182"/>
            <ac:spMk id="7" creationId="{E8EF12BA-8E49-8E6D-46DE-F6A73C3A4E17}"/>
          </ac:spMkLst>
        </pc:spChg>
        <pc:spChg chg="mod">
          <ac:chgData name="Stina Ru" userId="a298bcda0a73aae4" providerId="LiveId" clId="{E0C0A27F-CDEB-40D8-B77D-DBB27E470B13}" dt="2022-11-16T09:56:41.211" v="14053" actId="14100"/>
          <ac:spMkLst>
            <pc:docMk/>
            <pc:sldMk cId="1753963648" sldId="1182"/>
            <ac:spMk id="8" creationId="{F1188126-E254-9DD8-F266-41C2975266C5}"/>
          </ac:spMkLst>
        </pc:spChg>
        <pc:spChg chg="mod">
          <ac:chgData name="Stina Ru" userId="a298bcda0a73aae4" providerId="LiveId" clId="{E0C0A27F-CDEB-40D8-B77D-DBB27E470B13}" dt="2022-11-16T10:32:54.188" v="14472" actId="14100"/>
          <ac:spMkLst>
            <pc:docMk/>
            <pc:sldMk cId="1753963648" sldId="1182"/>
            <ac:spMk id="10" creationId="{0BADA581-22B8-DB56-B959-409225AB6DE1}"/>
          </ac:spMkLst>
        </pc:spChg>
      </pc:sldChg>
      <pc:sldChg chg="addSp delSp modSp add mod delAnim modAnim">
        <pc:chgData name="Stina Ru" userId="a298bcda0a73aae4" providerId="LiveId" clId="{E0C0A27F-CDEB-40D8-B77D-DBB27E470B13}" dt="2022-11-16T13:39:13.846" v="14672" actId="1076"/>
        <pc:sldMkLst>
          <pc:docMk/>
          <pc:sldMk cId="3348382561" sldId="1183"/>
        </pc:sldMkLst>
        <pc:spChg chg="add del mod">
          <ac:chgData name="Stina Ru" userId="a298bcda0a73aae4" providerId="LiveId" clId="{E0C0A27F-CDEB-40D8-B77D-DBB27E470B13}" dt="2022-11-16T10:25:13.368" v="14343" actId="478"/>
          <ac:spMkLst>
            <pc:docMk/>
            <pc:sldMk cId="3348382561" sldId="1183"/>
            <ac:spMk id="3" creationId="{B9EA0EFB-5406-92DD-7503-F22601E5D8EE}"/>
          </ac:spMkLst>
        </pc:spChg>
        <pc:spChg chg="add mod">
          <ac:chgData name="Stina Ru" userId="a298bcda0a73aae4" providerId="LiveId" clId="{E0C0A27F-CDEB-40D8-B77D-DBB27E470B13}" dt="2022-11-16T13:39:13.846" v="14672" actId="1076"/>
          <ac:spMkLst>
            <pc:docMk/>
            <pc:sldMk cId="3348382561" sldId="1183"/>
            <ac:spMk id="5" creationId="{7CE7E086-3D50-6181-49A8-C8B56A5DCCB2}"/>
          </ac:spMkLst>
        </pc:spChg>
        <pc:spChg chg="del mod">
          <ac:chgData name="Stina Ru" userId="a298bcda0a73aae4" providerId="LiveId" clId="{E0C0A27F-CDEB-40D8-B77D-DBB27E470B13}" dt="2022-11-16T10:25:10.982" v="14342" actId="21"/>
          <ac:spMkLst>
            <pc:docMk/>
            <pc:sldMk cId="3348382561" sldId="1183"/>
            <ac:spMk id="6" creationId="{070F7C74-9112-406B-A0CC-08F6DDA1D2AF}"/>
          </ac:spMkLst>
        </pc:spChg>
        <pc:spChg chg="add del mod">
          <ac:chgData name="Stina Ru" userId="a298bcda0a73aae4" providerId="LiveId" clId="{E0C0A27F-CDEB-40D8-B77D-DBB27E470B13}" dt="2022-11-16T13:39:07.252" v="14670" actId="478"/>
          <ac:spMkLst>
            <pc:docMk/>
            <pc:sldMk cId="3348382561" sldId="1183"/>
            <ac:spMk id="7" creationId="{28556BB7-17AD-9C77-023C-F2330A18321A}"/>
          </ac:spMkLst>
        </pc:spChg>
        <pc:spChg chg="add del mod">
          <ac:chgData name="Stina Ru" userId="a298bcda0a73aae4" providerId="LiveId" clId="{E0C0A27F-CDEB-40D8-B77D-DBB27E470B13}" dt="2022-11-16T13:39:08.903" v="14671" actId="478"/>
          <ac:spMkLst>
            <pc:docMk/>
            <pc:sldMk cId="3348382561" sldId="1183"/>
            <ac:spMk id="8" creationId="{4092697F-F51B-F560-0AF9-9E8E02779362}"/>
          </ac:spMkLst>
        </pc:spChg>
        <pc:spChg chg="add mod">
          <ac:chgData name="Stina Ru" userId="a298bcda0a73aae4" providerId="LiveId" clId="{E0C0A27F-CDEB-40D8-B77D-DBB27E470B13}" dt="2022-11-16T13:39:05.116" v="14669" actId="20577"/>
          <ac:spMkLst>
            <pc:docMk/>
            <pc:sldMk cId="3348382561" sldId="1183"/>
            <ac:spMk id="10" creationId="{DAFD671D-34DF-3C72-BF32-992DFF0C5A4B}"/>
          </ac:spMkLst>
        </pc:spChg>
        <pc:spChg chg="mod">
          <ac:chgData name="Stina Ru" userId="a298bcda0a73aae4" providerId="LiveId" clId="{E0C0A27F-CDEB-40D8-B77D-DBB27E470B13}" dt="2022-11-15T17:11:41.393" v="8313" actId="6549"/>
          <ac:spMkLst>
            <pc:docMk/>
            <pc:sldMk cId="3348382561" sldId="1183"/>
            <ac:spMk id="12" creationId="{13B203F9-1E27-4E57-902E-B40C20ADA7DF}"/>
          </ac:spMkLst>
        </pc:spChg>
        <pc:graphicFrameChg chg="add del mod modGraphic">
          <ac:chgData name="Stina Ru" userId="a298bcda0a73aae4" providerId="LiveId" clId="{E0C0A27F-CDEB-40D8-B77D-DBB27E470B13}" dt="2022-11-15T17:40:22.288" v="8676" actId="478"/>
          <ac:graphicFrameMkLst>
            <pc:docMk/>
            <pc:sldMk cId="3348382561" sldId="1183"/>
            <ac:graphicFrameMk id="9" creationId="{F9244475-67F1-6441-DCC8-34A3C06B66C8}"/>
          </ac:graphicFrameMkLst>
        </pc:graphicFrameChg>
        <pc:picChg chg="del mod">
          <ac:chgData name="Stina Ru" userId="a298bcda0a73aae4" providerId="LiveId" clId="{E0C0A27F-CDEB-40D8-B77D-DBB27E470B13}" dt="2022-11-15T16:59:32.846" v="7976" actId="478"/>
          <ac:picMkLst>
            <pc:docMk/>
            <pc:sldMk cId="3348382561" sldId="1183"/>
            <ac:picMk id="3" creationId="{8E743C91-C8AD-C30E-AD38-324720C02A01}"/>
          </ac:picMkLst>
        </pc:picChg>
        <pc:picChg chg="add del mod">
          <ac:chgData name="Stina Ru" userId="a298bcda0a73aae4" providerId="LiveId" clId="{E0C0A27F-CDEB-40D8-B77D-DBB27E470B13}" dt="2022-11-15T17:53:30.545" v="9037" actId="478"/>
          <ac:picMkLst>
            <pc:docMk/>
            <pc:sldMk cId="3348382561" sldId="1183"/>
            <ac:picMk id="5" creationId="{FE45282B-38B9-B2A4-2C99-F98436042BC8}"/>
          </ac:picMkLst>
        </pc:picChg>
        <pc:picChg chg="add mod">
          <ac:chgData name="Stina Ru" userId="a298bcda0a73aae4" providerId="LiveId" clId="{E0C0A27F-CDEB-40D8-B77D-DBB27E470B13}" dt="2022-11-15T17:53:35.714" v="9038" actId="1076"/>
          <ac:picMkLst>
            <pc:docMk/>
            <pc:sldMk cId="3348382561" sldId="1183"/>
            <ac:picMk id="14" creationId="{86D4CF5C-4CED-EB64-1F76-3156D3BA5AC9}"/>
          </ac:picMkLst>
        </pc:picChg>
      </pc:sldChg>
      <pc:sldChg chg="modSp add mod">
        <pc:chgData name="Stina Ru" userId="a298bcda0a73aae4" providerId="LiveId" clId="{E0C0A27F-CDEB-40D8-B77D-DBB27E470B13}" dt="2022-11-16T10:05:35.332" v="14170" actId="1076"/>
        <pc:sldMkLst>
          <pc:docMk/>
          <pc:sldMk cId="2445152104" sldId="1184"/>
        </pc:sldMkLst>
        <pc:spChg chg="mod">
          <ac:chgData name="Stina Ru" userId="a298bcda0a73aae4" providerId="LiveId" clId="{E0C0A27F-CDEB-40D8-B77D-DBB27E470B13}" dt="2022-11-16T10:05:35.332" v="14170" actId="1076"/>
          <ac:spMkLst>
            <pc:docMk/>
            <pc:sldMk cId="2445152104" sldId="1184"/>
            <ac:spMk id="2" creationId="{2E8E55A0-73B3-4565-BA58-ACE5F64229D6}"/>
          </ac:spMkLst>
        </pc:spChg>
      </pc:sldChg>
      <pc:sldChg chg="addSp delSp modSp add del mod ord">
        <pc:chgData name="Stina Ru" userId="a298bcda0a73aae4" providerId="LiveId" clId="{E0C0A27F-CDEB-40D8-B77D-DBB27E470B13}" dt="2022-11-22T13:15:14.670" v="14771" actId="47"/>
        <pc:sldMkLst>
          <pc:docMk/>
          <pc:sldMk cId="4102215908" sldId="1185"/>
        </pc:sldMkLst>
        <pc:spChg chg="add del mod">
          <ac:chgData name="Stina Ru" userId="a298bcda0a73aae4" providerId="LiveId" clId="{E0C0A27F-CDEB-40D8-B77D-DBB27E470B13}" dt="2022-11-15T18:08:43.619" v="9475" actId="478"/>
          <ac:spMkLst>
            <pc:docMk/>
            <pc:sldMk cId="4102215908" sldId="1185"/>
            <ac:spMk id="3" creationId="{F02879AA-206B-ABC8-5994-2C69198990C2}"/>
          </ac:spMkLst>
        </pc:spChg>
        <pc:spChg chg="del">
          <ac:chgData name="Stina Ru" userId="a298bcda0a73aae4" providerId="LiveId" clId="{E0C0A27F-CDEB-40D8-B77D-DBB27E470B13}" dt="2022-11-15T18:08:37.489" v="9474" actId="478"/>
          <ac:spMkLst>
            <pc:docMk/>
            <pc:sldMk cId="4102215908" sldId="1185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5T18:08:30.079" v="9473" actId="20577"/>
          <ac:spMkLst>
            <pc:docMk/>
            <pc:sldMk cId="4102215908" sldId="1185"/>
            <ac:spMk id="12" creationId="{13B203F9-1E27-4E57-902E-B40C20ADA7DF}"/>
          </ac:spMkLst>
        </pc:spChg>
        <pc:spChg chg="del">
          <ac:chgData name="Stina Ru" userId="a298bcda0a73aae4" providerId="LiveId" clId="{E0C0A27F-CDEB-40D8-B77D-DBB27E470B13}" dt="2022-11-16T10:04:23.975" v="14148" actId="478"/>
          <ac:spMkLst>
            <pc:docMk/>
            <pc:sldMk cId="4102215908" sldId="1185"/>
            <ac:spMk id="14" creationId="{72BC414F-53AD-75E9-CB16-F505BB686EF0}"/>
          </ac:spMkLst>
        </pc:spChg>
        <pc:graphicFrameChg chg="modGraphic">
          <ac:chgData name="Stina Ru" userId="a298bcda0a73aae4" providerId="LiveId" clId="{E0C0A27F-CDEB-40D8-B77D-DBB27E470B13}" dt="2022-11-16T10:13:21.887" v="14240" actId="20577"/>
          <ac:graphicFrameMkLst>
            <pc:docMk/>
            <pc:sldMk cId="4102215908" sldId="1185"/>
            <ac:graphicFrameMk id="11" creationId="{87F5F837-24AC-D2E6-5FA2-3ABC7112968B}"/>
          </ac:graphicFrameMkLst>
        </pc:graphicFrameChg>
      </pc:sldChg>
      <pc:sldChg chg="addSp delSp modSp add mod ord delAnim">
        <pc:chgData name="Stina Ru" userId="a298bcda0a73aae4" providerId="LiveId" clId="{E0C0A27F-CDEB-40D8-B77D-DBB27E470B13}" dt="2022-11-16T10:07:30.720" v="14216" actId="20577"/>
        <pc:sldMkLst>
          <pc:docMk/>
          <pc:sldMk cId="3878411933" sldId="1186"/>
        </pc:sldMkLst>
        <pc:spChg chg="mod">
          <ac:chgData name="Stina Ru" userId="a298bcda0a73aae4" providerId="LiveId" clId="{E0C0A27F-CDEB-40D8-B77D-DBB27E470B13}" dt="2022-11-16T10:07:30.720" v="14216" actId="20577"/>
          <ac:spMkLst>
            <pc:docMk/>
            <pc:sldMk cId="3878411933" sldId="1186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5T20:18:22.538" v="9949" actId="478"/>
          <ac:spMkLst>
            <pc:docMk/>
            <pc:sldMk cId="3878411933" sldId="1186"/>
            <ac:spMk id="7" creationId="{28556BB7-17AD-9C77-023C-F2330A18321A}"/>
          </ac:spMkLst>
        </pc:spChg>
        <pc:spChg chg="del">
          <ac:chgData name="Stina Ru" userId="a298bcda0a73aae4" providerId="LiveId" clId="{E0C0A27F-CDEB-40D8-B77D-DBB27E470B13}" dt="2022-11-15T20:18:25.213" v="9950" actId="478"/>
          <ac:spMkLst>
            <pc:docMk/>
            <pc:sldMk cId="3878411933" sldId="1186"/>
            <ac:spMk id="8" creationId="{4092697F-F51B-F560-0AF9-9E8E02779362}"/>
          </ac:spMkLst>
        </pc:spChg>
        <pc:spChg chg="del">
          <ac:chgData name="Stina Ru" userId="a298bcda0a73aae4" providerId="LiveId" clId="{E0C0A27F-CDEB-40D8-B77D-DBB27E470B13}" dt="2022-11-15T20:18:20.353" v="9948" actId="478"/>
          <ac:spMkLst>
            <pc:docMk/>
            <pc:sldMk cId="3878411933" sldId="1186"/>
            <ac:spMk id="10" creationId="{DAFD671D-34DF-3C72-BF32-992DFF0C5A4B}"/>
          </ac:spMkLst>
        </pc:spChg>
        <pc:spChg chg="mod">
          <ac:chgData name="Stina Ru" userId="a298bcda0a73aae4" providerId="LiveId" clId="{E0C0A27F-CDEB-40D8-B77D-DBB27E470B13}" dt="2022-11-15T20:14:55.500" v="9603" actId="20577"/>
          <ac:spMkLst>
            <pc:docMk/>
            <pc:sldMk cId="3878411933" sldId="1186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3:38:00.231" v="13307" actId="1076"/>
          <ac:picMkLst>
            <pc:docMk/>
            <pc:sldMk cId="3878411933" sldId="1186"/>
            <ac:picMk id="2" creationId="{A89FD85C-00EB-0A08-38B1-69920B15AD70}"/>
          </ac:picMkLst>
        </pc:picChg>
        <pc:picChg chg="add mod">
          <ac:chgData name="Stina Ru" userId="a298bcda0a73aae4" providerId="LiveId" clId="{E0C0A27F-CDEB-40D8-B77D-DBB27E470B13}" dt="2022-11-15T23:39:05.882" v="13316" actId="1076"/>
          <ac:picMkLst>
            <pc:docMk/>
            <pc:sldMk cId="3878411933" sldId="1186"/>
            <ac:picMk id="3" creationId="{D23ADB76-8705-97AB-76C2-79F0C170B5C4}"/>
          </ac:picMkLst>
        </pc:picChg>
      </pc:sldChg>
      <pc:sldChg chg="delSp modSp add del mod">
        <pc:chgData name="Stina Ru" userId="a298bcda0a73aae4" providerId="LiveId" clId="{E0C0A27F-CDEB-40D8-B77D-DBB27E470B13}" dt="2022-11-15T20:28:26.078" v="10364" actId="47"/>
        <pc:sldMkLst>
          <pc:docMk/>
          <pc:sldMk cId="294067870" sldId="1187"/>
        </pc:sldMkLst>
        <pc:spChg chg="mod">
          <ac:chgData name="Stina Ru" userId="a298bcda0a73aae4" providerId="LiveId" clId="{E0C0A27F-CDEB-40D8-B77D-DBB27E470B13}" dt="2022-11-15T20:24:12.700" v="10171" actId="20577"/>
          <ac:spMkLst>
            <pc:docMk/>
            <pc:sldMk cId="294067870" sldId="1187"/>
            <ac:spMk id="12" creationId="{13B203F9-1E27-4E57-902E-B40C20ADA7DF}"/>
          </ac:spMkLst>
        </pc:spChg>
        <pc:picChg chg="del">
          <ac:chgData name="Stina Ru" userId="a298bcda0a73aae4" providerId="LiveId" clId="{E0C0A27F-CDEB-40D8-B77D-DBB27E470B13}" dt="2022-11-15T20:24:37.341" v="10172" actId="478"/>
          <ac:picMkLst>
            <pc:docMk/>
            <pc:sldMk cId="294067870" sldId="1187"/>
            <ac:picMk id="14" creationId="{86D4CF5C-4CED-EB64-1F76-3156D3BA5AC9}"/>
          </ac:picMkLst>
        </pc:picChg>
      </pc:sldChg>
      <pc:sldChg chg="addSp delSp modSp add mod delAnim modAnim">
        <pc:chgData name="Stina Ru" userId="a298bcda0a73aae4" providerId="LiveId" clId="{E0C0A27F-CDEB-40D8-B77D-DBB27E470B13}" dt="2022-11-15T20:44:54.392" v="10815" actId="478"/>
        <pc:sldMkLst>
          <pc:docMk/>
          <pc:sldMk cId="253087202" sldId="1188"/>
        </pc:sldMkLst>
        <pc:spChg chg="add mod">
          <ac:chgData name="Stina Ru" userId="a298bcda0a73aae4" providerId="LiveId" clId="{E0C0A27F-CDEB-40D8-B77D-DBB27E470B13}" dt="2022-11-15T20:31:22.253" v="10542" actId="1076"/>
          <ac:spMkLst>
            <pc:docMk/>
            <pc:sldMk cId="253087202" sldId="1188"/>
            <ac:spMk id="5" creationId="{B3094BE0-EF0F-81BD-993B-B8FF8CB444E4}"/>
          </ac:spMkLst>
        </pc:spChg>
        <pc:spChg chg="mod">
          <ac:chgData name="Stina Ru" userId="a298bcda0a73aae4" providerId="LiveId" clId="{E0C0A27F-CDEB-40D8-B77D-DBB27E470B13}" dt="2022-11-15T20:36:19.055" v="10739" actId="113"/>
          <ac:spMkLst>
            <pc:docMk/>
            <pc:sldMk cId="253087202" sldId="1188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5T20:28:54.877" v="10417" actId="478"/>
          <ac:spMkLst>
            <pc:docMk/>
            <pc:sldMk cId="253087202" sldId="1188"/>
            <ac:spMk id="7" creationId="{28556BB7-17AD-9C77-023C-F2330A18321A}"/>
          </ac:spMkLst>
        </pc:spChg>
        <pc:spChg chg="del mod">
          <ac:chgData name="Stina Ru" userId="a298bcda0a73aae4" providerId="LiveId" clId="{E0C0A27F-CDEB-40D8-B77D-DBB27E470B13}" dt="2022-11-15T20:44:54.392" v="10815" actId="478"/>
          <ac:spMkLst>
            <pc:docMk/>
            <pc:sldMk cId="253087202" sldId="1188"/>
            <ac:spMk id="8" creationId="{4092697F-F51B-F560-0AF9-9E8E02779362}"/>
          </ac:spMkLst>
        </pc:spChg>
        <pc:spChg chg="add mod">
          <ac:chgData name="Stina Ru" userId="a298bcda0a73aae4" providerId="LiveId" clId="{E0C0A27F-CDEB-40D8-B77D-DBB27E470B13}" dt="2022-11-15T20:31:25.228" v="10543" actId="1076"/>
          <ac:spMkLst>
            <pc:docMk/>
            <pc:sldMk cId="253087202" sldId="1188"/>
            <ac:spMk id="9" creationId="{82FBFD83-3160-02BE-F06B-1E68DE94B0A5}"/>
          </ac:spMkLst>
        </pc:spChg>
        <pc:spChg chg="del">
          <ac:chgData name="Stina Ru" userId="a298bcda0a73aae4" providerId="LiveId" clId="{E0C0A27F-CDEB-40D8-B77D-DBB27E470B13}" dt="2022-11-15T20:30:17.758" v="10480" actId="478"/>
          <ac:spMkLst>
            <pc:docMk/>
            <pc:sldMk cId="253087202" sldId="1188"/>
            <ac:spMk id="10" creationId="{DAFD671D-34DF-3C72-BF32-992DFF0C5A4B}"/>
          </ac:spMkLst>
        </pc:spChg>
        <pc:spChg chg="add mod">
          <ac:chgData name="Stina Ru" userId="a298bcda0a73aae4" providerId="LiveId" clId="{E0C0A27F-CDEB-40D8-B77D-DBB27E470B13}" dt="2022-11-15T20:31:28.588" v="10544" actId="1076"/>
          <ac:spMkLst>
            <pc:docMk/>
            <pc:sldMk cId="253087202" sldId="1188"/>
            <ac:spMk id="11" creationId="{5BD88881-B49F-A319-705C-E43AF709FCE5}"/>
          </ac:spMkLst>
        </pc:spChg>
        <pc:spChg chg="mod">
          <ac:chgData name="Stina Ru" userId="a298bcda0a73aae4" providerId="LiveId" clId="{E0C0A27F-CDEB-40D8-B77D-DBB27E470B13}" dt="2022-11-15T20:29:26.828" v="10419" actId="20577"/>
          <ac:spMkLst>
            <pc:docMk/>
            <pc:sldMk cId="253087202" sldId="1188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0:24:48.626" v="10176" actId="1076"/>
          <ac:picMkLst>
            <pc:docMk/>
            <pc:sldMk cId="253087202" sldId="1188"/>
            <ac:picMk id="3" creationId="{03DF859A-8067-151E-3ABB-01FF63170F11}"/>
          </ac:picMkLst>
        </pc:picChg>
        <pc:picChg chg="del">
          <ac:chgData name="Stina Ru" userId="a298bcda0a73aae4" providerId="LiveId" clId="{E0C0A27F-CDEB-40D8-B77D-DBB27E470B13}" dt="2022-11-15T20:24:44.030" v="10174" actId="478"/>
          <ac:picMkLst>
            <pc:docMk/>
            <pc:sldMk cId="253087202" sldId="1188"/>
            <ac:picMk id="14" creationId="{86D4CF5C-4CED-EB64-1F76-3156D3BA5AC9}"/>
          </ac:picMkLst>
        </pc:picChg>
      </pc:sldChg>
      <pc:sldChg chg="addSp modSp add mod ord">
        <pc:chgData name="Stina Ru" userId="a298bcda0a73aae4" providerId="LiveId" clId="{E0C0A27F-CDEB-40D8-B77D-DBB27E470B13}" dt="2022-11-16T11:03:05.994" v="14668"/>
        <pc:sldMkLst>
          <pc:docMk/>
          <pc:sldMk cId="2699578356" sldId="1189"/>
        </pc:sldMkLst>
        <pc:spChg chg="mod">
          <ac:chgData name="Stina Ru" userId="a298bcda0a73aae4" providerId="LiveId" clId="{E0C0A27F-CDEB-40D8-B77D-DBB27E470B13}" dt="2022-11-16T10:28:18.025" v="14384" actId="400"/>
          <ac:spMkLst>
            <pc:docMk/>
            <pc:sldMk cId="2699578356" sldId="1189"/>
            <ac:spMk id="6" creationId="{070F7C74-9112-406B-A0CC-08F6DDA1D2AF}"/>
          </ac:spMkLst>
        </pc:spChg>
        <pc:spChg chg="mod">
          <ac:chgData name="Stina Ru" userId="a298bcda0a73aae4" providerId="LiveId" clId="{E0C0A27F-CDEB-40D8-B77D-DBB27E470B13}" dt="2022-11-15T20:25:10.294" v="10195" actId="20577"/>
          <ac:spMkLst>
            <pc:docMk/>
            <pc:sldMk cId="2699578356" sldId="1189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2:54:25.372" v="13068" actId="1076"/>
          <ac:picMkLst>
            <pc:docMk/>
            <pc:sldMk cId="2699578356" sldId="1189"/>
            <ac:picMk id="3" creationId="{262C911B-4570-2234-FD44-069F0716F971}"/>
          </ac:picMkLst>
        </pc:picChg>
        <pc:picChg chg="add mod">
          <ac:chgData name="Stina Ru" userId="a298bcda0a73aae4" providerId="LiveId" clId="{E0C0A27F-CDEB-40D8-B77D-DBB27E470B13}" dt="2022-11-15T22:55:05.708" v="13076" actId="1076"/>
          <ac:picMkLst>
            <pc:docMk/>
            <pc:sldMk cId="2699578356" sldId="1189"/>
            <ac:picMk id="7" creationId="{31C0E3EE-B2BC-1703-A482-5FEC88393ED9}"/>
          </ac:picMkLst>
        </pc:picChg>
      </pc:sldChg>
      <pc:sldChg chg="addSp delSp modSp add mod delAnim modAnim">
        <pc:chgData name="Stina Ru" userId="a298bcda0a73aae4" providerId="LiveId" clId="{E0C0A27F-CDEB-40D8-B77D-DBB27E470B13}" dt="2022-11-16T10:10:34.084" v="14223" actId="5793"/>
        <pc:sldMkLst>
          <pc:docMk/>
          <pc:sldMk cId="3641611588" sldId="1190"/>
        </pc:sldMkLst>
        <pc:spChg chg="add mod">
          <ac:chgData name="Stina Ru" userId="a298bcda0a73aae4" providerId="LiveId" clId="{E0C0A27F-CDEB-40D8-B77D-DBB27E470B13}" dt="2022-11-15T20:46:40.845" v="10967" actId="1076"/>
          <ac:spMkLst>
            <pc:docMk/>
            <pc:sldMk cId="3641611588" sldId="1190"/>
            <ac:spMk id="3" creationId="{798AE63F-7BFF-192A-FF30-BEA132865633}"/>
          </ac:spMkLst>
        </pc:spChg>
        <pc:spChg chg="add mod">
          <ac:chgData name="Stina Ru" userId="a298bcda0a73aae4" providerId="LiveId" clId="{E0C0A27F-CDEB-40D8-B77D-DBB27E470B13}" dt="2022-11-15T20:46:53.496" v="10983" actId="20577"/>
          <ac:spMkLst>
            <pc:docMk/>
            <pc:sldMk cId="3641611588" sldId="1190"/>
            <ac:spMk id="5" creationId="{89663797-00DB-FAB9-5493-A3FB9DFC2839}"/>
          </ac:spMkLst>
        </pc:spChg>
        <pc:spChg chg="del mod">
          <ac:chgData name="Stina Ru" userId="a298bcda0a73aae4" providerId="LiveId" clId="{E0C0A27F-CDEB-40D8-B77D-DBB27E470B13}" dt="2022-11-15T20:45:53.161" v="10880" actId="478"/>
          <ac:spMkLst>
            <pc:docMk/>
            <pc:sldMk cId="3641611588" sldId="1190"/>
            <ac:spMk id="6" creationId="{070F7C74-9112-406B-A0CC-08F6DDA1D2AF}"/>
          </ac:spMkLst>
        </pc:spChg>
        <pc:spChg chg="del">
          <ac:chgData name="Stina Ru" userId="a298bcda0a73aae4" providerId="LiveId" clId="{E0C0A27F-CDEB-40D8-B77D-DBB27E470B13}" dt="2022-11-15T20:45:26.386" v="10873" actId="478"/>
          <ac:spMkLst>
            <pc:docMk/>
            <pc:sldMk cId="3641611588" sldId="1190"/>
            <ac:spMk id="7" creationId="{28556BB7-17AD-9C77-023C-F2330A18321A}"/>
          </ac:spMkLst>
        </pc:spChg>
        <pc:spChg chg="del">
          <ac:chgData name="Stina Ru" userId="a298bcda0a73aae4" providerId="LiveId" clId="{E0C0A27F-CDEB-40D8-B77D-DBB27E470B13}" dt="2022-11-15T20:45:28.962" v="10874" actId="478"/>
          <ac:spMkLst>
            <pc:docMk/>
            <pc:sldMk cId="3641611588" sldId="1190"/>
            <ac:spMk id="8" creationId="{4092697F-F51B-F560-0AF9-9E8E02779362}"/>
          </ac:spMkLst>
        </pc:spChg>
        <pc:spChg chg="mod">
          <ac:chgData name="Stina Ru" userId="a298bcda0a73aae4" providerId="LiveId" clId="{E0C0A27F-CDEB-40D8-B77D-DBB27E470B13}" dt="2022-11-16T10:10:34.084" v="14223" actId="5793"/>
          <ac:spMkLst>
            <pc:docMk/>
            <pc:sldMk cId="3641611588" sldId="1190"/>
            <ac:spMk id="10" creationId="{DAFD671D-34DF-3C72-BF32-992DFF0C5A4B}"/>
          </ac:spMkLst>
        </pc:spChg>
        <pc:spChg chg="mod">
          <ac:chgData name="Stina Ru" userId="a298bcda0a73aae4" providerId="LiveId" clId="{E0C0A27F-CDEB-40D8-B77D-DBB27E470B13}" dt="2022-11-15T20:50:57.187" v="11087" actId="20577"/>
          <ac:spMkLst>
            <pc:docMk/>
            <pc:sldMk cId="3641611588" sldId="1190"/>
            <ac:spMk id="12" creationId="{13B203F9-1E27-4E57-902E-B40C20ADA7DF}"/>
          </ac:spMkLst>
        </pc:spChg>
        <pc:picChg chg="add mod">
          <ac:chgData name="Stina Ru" userId="a298bcda0a73aae4" providerId="LiveId" clId="{E0C0A27F-CDEB-40D8-B77D-DBB27E470B13}" dt="2022-11-15T20:45:36.594" v="10876"/>
          <ac:picMkLst>
            <pc:docMk/>
            <pc:sldMk cId="3641611588" sldId="1190"/>
            <ac:picMk id="2" creationId="{6ED16781-B47F-78D1-2240-8EE8C7F3CC6C}"/>
          </ac:picMkLst>
        </pc:picChg>
        <pc:picChg chg="del">
          <ac:chgData name="Stina Ru" userId="a298bcda0a73aae4" providerId="LiveId" clId="{E0C0A27F-CDEB-40D8-B77D-DBB27E470B13}" dt="2022-11-15T20:45:36.138" v="10875" actId="478"/>
          <ac:picMkLst>
            <pc:docMk/>
            <pc:sldMk cId="3641611588" sldId="1190"/>
            <ac:picMk id="14" creationId="{86D4CF5C-4CED-EB64-1F76-3156D3BA5AC9}"/>
          </ac:picMkLst>
        </pc:picChg>
      </pc:sldChg>
      <pc:sldChg chg="addSp delSp modSp add mod delAnim modAnim">
        <pc:chgData name="Stina Ru" userId="a298bcda0a73aae4" providerId="LiveId" clId="{E0C0A27F-CDEB-40D8-B77D-DBB27E470B13}" dt="2022-11-16T11:02:46.647" v="14666" actId="114"/>
        <pc:sldMkLst>
          <pc:docMk/>
          <pc:sldMk cId="1326297582" sldId="1191"/>
        </pc:sldMkLst>
        <pc:spChg chg="mod">
          <ac:chgData name="Stina Ru" userId="a298bcda0a73aae4" providerId="LiveId" clId="{E0C0A27F-CDEB-40D8-B77D-DBB27E470B13}" dt="2022-11-15T22:20:36.940" v="12372" actId="1076"/>
          <ac:spMkLst>
            <pc:docMk/>
            <pc:sldMk cId="1326297582" sldId="1191"/>
            <ac:spMk id="3" creationId="{798AE63F-7BFF-192A-FF30-BEA132865633}"/>
          </ac:spMkLst>
        </pc:spChg>
        <pc:spChg chg="del">
          <ac:chgData name="Stina Ru" userId="a298bcda0a73aae4" providerId="LiveId" clId="{E0C0A27F-CDEB-40D8-B77D-DBB27E470B13}" dt="2022-11-15T21:19:07.422" v="11627" actId="478"/>
          <ac:spMkLst>
            <pc:docMk/>
            <pc:sldMk cId="1326297582" sldId="1191"/>
            <ac:spMk id="5" creationId="{89663797-00DB-FAB9-5493-A3FB9DFC2839}"/>
          </ac:spMkLst>
        </pc:spChg>
        <pc:spChg chg="add mod">
          <ac:chgData name="Stina Ru" userId="a298bcda0a73aae4" providerId="LiveId" clId="{E0C0A27F-CDEB-40D8-B77D-DBB27E470B13}" dt="2022-11-16T11:02:43.727" v="14665" actId="114"/>
          <ac:spMkLst>
            <pc:docMk/>
            <pc:sldMk cId="1326297582" sldId="1191"/>
            <ac:spMk id="8" creationId="{2798D281-144E-18BE-4143-97A64C35100C}"/>
          </ac:spMkLst>
        </pc:spChg>
        <pc:spChg chg="add mod">
          <ac:chgData name="Stina Ru" userId="a298bcda0a73aae4" providerId="LiveId" clId="{E0C0A27F-CDEB-40D8-B77D-DBB27E470B13}" dt="2022-11-16T11:02:46.647" v="14666" actId="114"/>
          <ac:spMkLst>
            <pc:docMk/>
            <pc:sldMk cId="1326297582" sldId="1191"/>
            <ac:spMk id="9" creationId="{9E3947E0-CAA8-EA6D-D4B3-0F240A5FE337}"/>
          </ac:spMkLst>
        </pc:spChg>
        <pc:spChg chg="mod">
          <ac:chgData name="Stina Ru" userId="a298bcda0a73aae4" providerId="LiveId" clId="{E0C0A27F-CDEB-40D8-B77D-DBB27E470B13}" dt="2022-11-15T23:44:02.566" v="13392" actId="6549"/>
          <ac:spMkLst>
            <pc:docMk/>
            <pc:sldMk cId="1326297582" sldId="1191"/>
            <ac:spMk id="10" creationId="{DAFD671D-34DF-3C72-BF32-992DFF0C5A4B}"/>
          </ac:spMkLst>
        </pc:spChg>
        <pc:spChg chg="add mod">
          <ac:chgData name="Stina Ru" userId="a298bcda0a73aae4" providerId="LiveId" clId="{E0C0A27F-CDEB-40D8-B77D-DBB27E470B13}" dt="2022-11-16T11:02:40.400" v="14664" actId="114"/>
          <ac:spMkLst>
            <pc:docMk/>
            <pc:sldMk cId="1326297582" sldId="1191"/>
            <ac:spMk id="11" creationId="{5345F250-F7AE-5B58-E34F-5CC6B71C95FF}"/>
          </ac:spMkLst>
        </pc:spChg>
        <pc:spChg chg="mod">
          <ac:chgData name="Stina Ru" userId="a298bcda0a73aae4" providerId="LiveId" clId="{E0C0A27F-CDEB-40D8-B77D-DBB27E470B13}" dt="2022-11-15T22:20:29.120" v="12371" actId="1076"/>
          <ac:spMkLst>
            <pc:docMk/>
            <pc:sldMk cId="1326297582" sldId="1191"/>
            <ac:spMk id="12" creationId="{13B203F9-1E27-4E57-902E-B40C20ADA7DF}"/>
          </ac:spMkLst>
        </pc:spChg>
        <pc:graphicFrameChg chg="add mod modGraphic">
          <ac:chgData name="Stina Ru" userId="a298bcda0a73aae4" providerId="LiveId" clId="{E0C0A27F-CDEB-40D8-B77D-DBB27E470B13}" dt="2022-11-15T23:42:09.316" v="13357" actId="21"/>
          <ac:graphicFrameMkLst>
            <pc:docMk/>
            <pc:sldMk cId="1326297582" sldId="1191"/>
            <ac:graphicFrameMk id="6" creationId="{F3DB700A-5320-DA1F-E80C-53E5D61379BA}"/>
          </ac:graphicFrameMkLst>
        </pc:graphicFrameChg>
        <pc:picChg chg="add mod">
          <ac:chgData name="Stina Ru" userId="a298bcda0a73aae4" providerId="LiveId" clId="{E0C0A27F-CDEB-40D8-B77D-DBB27E470B13}" dt="2022-11-16T10:11:33.800" v="14229" actId="1076"/>
          <ac:picMkLst>
            <pc:docMk/>
            <pc:sldMk cId="1326297582" sldId="1191"/>
            <ac:picMk id="14" creationId="{99848D17-4F5F-7791-3787-5D6D236F98E4}"/>
          </ac:picMkLst>
        </pc:picChg>
        <pc:cxnChg chg="add mod">
          <ac:chgData name="Stina Ru" userId="a298bcda0a73aae4" providerId="LiveId" clId="{E0C0A27F-CDEB-40D8-B77D-DBB27E470B13}" dt="2022-11-15T22:17:53.720" v="12209" actId="1076"/>
          <ac:cxnSpMkLst>
            <pc:docMk/>
            <pc:sldMk cId="1326297582" sldId="1191"/>
            <ac:cxnSpMk id="7" creationId="{7EF9748C-2F38-D5C1-D22F-C1005C73F7DC}"/>
          </ac:cxnSpMkLst>
        </pc:cxnChg>
      </pc:sldChg>
      <pc:sldChg chg="modSp add mod">
        <pc:chgData name="Stina Ru" userId="a298bcda0a73aae4" providerId="LiveId" clId="{E0C0A27F-CDEB-40D8-B77D-DBB27E470B13}" dt="2022-11-15T23:56:49.164" v="13577" actId="14734"/>
        <pc:sldMkLst>
          <pc:docMk/>
          <pc:sldMk cId="2067552496" sldId="1192"/>
        </pc:sldMkLst>
        <pc:graphicFrameChg chg="modGraphic">
          <ac:chgData name="Stina Ru" userId="a298bcda0a73aae4" providerId="LiveId" clId="{E0C0A27F-CDEB-40D8-B77D-DBB27E470B13}" dt="2022-11-15T23:56:49.164" v="13577" actId="14734"/>
          <ac:graphicFrameMkLst>
            <pc:docMk/>
            <pc:sldMk cId="2067552496" sldId="1192"/>
            <ac:graphicFrameMk id="11" creationId="{87F5F837-24AC-D2E6-5FA2-3ABC7112968B}"/>
          </ac:graphicFrameMkLst>
        </pc:graphicFrameChg>
      </pc:sldChg>
      <pc:sldChg chg="add del">
        <pc:chgData name="Stina Ru" userId="a298bcda0a73aae4" providerId="LiveId" clId="{E0C0A27F-CDEB-40D8-B77D-DBB27E470B13}" dt="2022-11-22T13:15:14.748" v="14772" actId="47"/>
        <pc:sldMkLst>
          <pc:docMk/>
          <pc:sldMk cId="2815082113" sldId="119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2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22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6336704" cy="1477327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8), (9) und (Beginn von 10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278225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Soziologische Klassiker der Modernisierungsanalyse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0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897" y="930024"/>
            <a:ext cx="8568000" cy="1067502"/>
          </a:xfrm>
        </p:spPr>
        <p:txBody>
          <a:bodyPr numCol="5"/>
          <a:lstStyle/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arl Marx </a:t>
            </a: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) Ferdinand Tönnies</a:t>
            </a: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3) Emile Durkheim</a:t>
            </a: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4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org Simmel</a:t>
            </a: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) Max Weber  </a:t>
            </a: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0F2381C-8CFA-0F52-B2F7-124A65167000}"/>
              </a:ext>
            </a:extLst>
          </p:cNvPr>
          <p:cNvSpPr/>
          <p:nvPr/>
        </p:nvSpPr>
        <p:spPr>
          <a:xfrm>
            <a:off x="3870000" y="860701"/>
            <a:ext cx="1584036" cy="35464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Recherchearbei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616FEA3B-09E1-9F33-B41A-B29E754A024A}"/>
              </a:ext>
            </a:extLst>
          </p:cNvPr>
          <p:cNvSpPr/>
          <p:nvPr/>
        </p:nvSpPr>
        <p:spPr>
          <a:xfrm>
            <a:off x="2528623" y="3530600"/>
            <a:ext cx="3753644" cy="5748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1"/>
                </a:solidFill>
              </a:rPr>
              <a:t>Vorstellung von Modernisier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7469D35-9425-E33F-4399-F4AA0DD471D4}"/>
              </a:ext>
            </a:extLst>
          </p:cNvPr>
          <p:cNvSpPr txBox="1"/>
          <p:nvPr/>
        </p:nvSpPr>
        <p:spPr>
          <a:xfrm>
            <a:off x="948267" y="1154794"/>
            <a:ext cx="7027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Lektion 9 Folie 7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77E7F1A-59E9-34ED-94CD-7F72C59B08D8}"/>
              </a:ext>
            </a:extLst>
          </p:cNvPr>
          <p:cNvSpPr txBox="1"/>
          <p:nvPr/>
        </p:nvSpPr>
        <p:spPr>
          <a:xfrm>
            <a:off x="6028267" y="2684021"/>
            <a:ext cx="7027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Lektion 9 Folie 10</a:t>
            </a:r>
          </a:p>
        </p:txBody>
      </p:sp>
    </p:spTree>
    <p:extLst>
      <p:ext uri="{BB962C8B-B14F-4D97-AF65-F5344CB8AC3E}">
        <p14:creationId xmlns:p14="http://schemas.microsoft.com/office/powerpoint/2010/main" val="140665216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645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Soziologische Klassiker der Modernisierungsanalyse: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660762"/>
            <a:ext cx="8568000" cy="38219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Vorstellung zur Modernisierung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graphicFrame>
        <p:nvGraphicFramePr>
          <p:cNvPr id="11" name="Tabelle 13">
            <a:extLst>
              <a:ext uri="{FF2B5EF4-FFF2-40B4-BE49-F238E27FC236}">
                <a16:creationId xmlns:a16="http://schemas.microsoft.com/office/drawing/2014/main" id="{87F5F837-24AC-D2E6-5FA2-3ABC711296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71783"/>
              </p:ext>
            </p:extLst>
          </p:nvPr>
        </p:nvGraphicFramePr>
        <p:xfrm>
          <a:off x="188050" y="1020844"/>
          <a:ext cx="8779745" cy="3063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1683">
                  <a:extLst>
                    <a:ext uri="{9D8B030D-6E8A-4147-A177-3AD203B41FA5}">
                      <a16:colId xmlns:a16="http://schemas.microsoft.com/office/drawing/2014/main" val="43726398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172851815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158547336"/>
                    </a:ext>
                  </a:extLst>
                </a:gridCol>
                <a:gridCol w="2116667">
                  <a:extLst>
                    <a:ext uri="{9D8B030D-6E8A-4147-A177-3AD203B41FA5}">
                      <a16:colId xmlns:a16="http://schemas.microsoft.com/office/drawing/2014/main" val="2607218548"/>
                    </a:ext>
                  </a:extLst>
                </a:gridCol>
                <a:gridCol w="1550995">
                  <a:extLst>
                    <a:ext uri="{9D8B030D-6E8A-4147-A177-3AD203B41FA5}">
                      <a16:colId xmlns:a16="http://schemas.microsoft.com/office/drawing/2014/main" val="2518098549"/>
                    </a:ext>
                  </a:extLst>
                </a:gridCol>
              </a:tblGrid>
              <a:tr h="270889">
                <a:tc>
                  <a:txBody>
                    <a:bodyPr/>
                    <a:lstStyle/>
                    <a:p>
                      <a:r>
                        <a:rPr lang="de-DE" sz="1300" dirty="0"/>
                        <a:t>Karl Mar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Ferdinand Tönn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mile Durkhe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Georg Simm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ax We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888061"/>
                  </a:ext>
                </a:extLst>
              </a:tr>
              <a:tr h="270889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b="1" strike="sngStrik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9421295"/>
                  </a:ext>
                </a:extLst>
              </a:tr>
            </a:tbl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5860D3ED-F60B-CAB7-B33D-C71CCDAB9FC5}"/>
              </a:ext>
            </a:extLst>
          </p:cNvPr>
          <p:cNvSpPr txBox="1"/>
          <p:nvPr/>
        </p:nvSpPr>
        <p:spPr>
          <a:xfrm>
            <a:off x="188050" y="1362632"/>
            <a:ext cx="1818067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= Radikale </a:t>
            </a:r>
            <a:r>
              <a:rPr lang="de-DE" b="1" dirty="0"/>
              <a:t>Neugestaltung</a:t>
            </a:r>
            <a:r>
              <a:rPr lang="de-DE" dirty="0"/>
              <a:t> der sozialen Verhältnisse</a:t>
            </a:r>
          </a:p>
          <a:p>
            <a:endParaRPr lang="de-DE" dirty="0"/>
          </a:p>
          <a:p>
            <a:r>
              <a:rPr lang="de-DE" b="1" dirty="0"/>
              <a:t>Trennung von Kopf und Handarbeit</a:t>
            </a:r>
          </a:p>
          <a:p>
            <a:r>
              <a:rPr lang="de-DE" dirty="0"/>
              <a:t>(Besitzende vs. Nichtbesitzende)</a:t>
            </a:r>
          </a:p>
          <a:p>
            <a:endParaRPr lang="de-DE" dirty="0"/>
          </a:p>
          <a:p>
            <a:r>
              <a:rPr lang="de-DE" b="1" dirty="0"/>
              <a:t>Revolution</a:t>
            </a:r>
            <a:r>
              <a:rPr lang="de-DE" dirty="0"/>
              <a:t> als Zie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E209F6B-6286-7C74-64E7-34E7FA0012D1}"/>
              </a:ext>
            </a:extLst>
          </p:cNvPr>
          <p:cNvSpPr txBox="1"/>
          <p:nvPr/>
        </p:nvSpPr>
        <p:spPr>
          <a:xfrm>
            <a:off x="5290035" y="1332970"/>
            <a:ext cx="2117915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= </a:t>
            </a:r>
            <a:r>
              <a:rPr lang="de-DE" b="1" dirty="0"/>
              <a:t>Schwächung</a:t>
            </a:r>
            <a:r>
              <a:rPr lang="de-DE" dirty="0"/>
              <a:t>/ Verlust traditioneller </a:t>
            </a:r>
            <a:r>
              <a:rPr lang="de-DE" b="1" dirty="0"/>
              <a:t>Zusammengehörigkeit</a:t>
            </a:r>
          </a:p>
          <a:p>
            <a:endParaRPr lang="de-DE" dirty="0"/>
          </a:p>
          <a:p>
            <a:r>
              <a:rPr lang="de-DE" b="1" dirty="0"/>
              <a:t>Zunehmende</a:t>
            </a:r>
            <a:r>
              <a:rPr lang="de-DE" dirty="0"/>
              <a:t> gesellschaftliche </a:t>
            </a:r>
            <a:r>
              <a:rPr lang="de-DE" b="1" dirty="0"/>
              <a:t>Differenzierung</a:t>
            </a:r>
          </a:p>
          <a:p>
            <a:endParaRPr lang="de-DE" b="0" dirty="0"/>
          </a:p>
          <a:p>
            <a:r>
              <a:rPr lang="de-DE" b="0" dirty="0"/>
              <a:t>Mehr </a:t>
            </a:r>
            <a:r>
              <a:rPr lang="de-DE" b="1" dirty="0"/>
              <a:t>Freiheitsgewinn</a:t>
            </a:r>
            <a:r>
              <a:rPr lang="de-DE" b="0" dirty="0"/>
              <a:t> des Individuums</a:t>
            </a:r>
          </a:p>
          <a:p>
            <a:endParaRPr lang="de-DE" b="0" dirty="0"/>
          </a:p>
          <a:p>
            <a:r>
              <a:rPr lang="de-DE" b="0" strike="sngStrike" dirty="0"/>
              <a:t>Aber </a:t>
            </a:r>
            <a:r>
              <a:rPr lang="de-DE" b="1" strike="sngStrike" dirty="0"/>
              <a:t>kaum</a:t>
            </a:r>
            <a:r>
              <a:rPr lang="de-DE" b="0" strike="sngStrike" dirty="0"/>
              <a:t> noch </a:t>
            </a:r>
            <a:r>
              <a:rPr lang="de-DE" b="1" strike="sngStrike" dirty="0"/>
              <a:t>wesentliche Bindung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9540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645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Soziologische Klassiker der Modernisierungsanalyse: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660762"/>
            <a:ext cx="8568000" cy="38219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Vorstellung zur Modernisierung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graphicFrame>
        <p:nvGraphicFramePr>
          <p:cNvPr id="11" name="Tabelle 13">
            <a:extLst>
              <a:ext uri="{FF2B5EF4-FFF2-40B4-BE49-F238E27FC236}">
                <a16:creationId xmlns:a16="http://schemas.microsoft.com/office/drawing/2014/main" id="{87F5F837-24AC-D2E6-5FA2-3ABC711296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424325"/>
              </p:ext>
            </p:extLst>
          </p:nvPr>
        </p:nvGraphicFramePr>
        <p:xfrm>
          <a:off x="188050" y="1020844"/>
          <a:ext cx="8779745" cy="388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283">
                  <a:extLst>
                    <a:ext uri="{9D8B030D-6E8A-4147-A177-3AD203B41FA5}">
                      <a16:colId xmlns:a16="http://schemas.microsoft.com/office/drawing/2014/main" val="437263986"/>
                    </a:ext>
                  </a:extLst>
                </a:gridCol>
                <a:gridCol w="1862667">
                  <a:extLst>
                    <a:ext uri="{9D8B030D-6E8A-4147-A177-3AD203B41FA5}">
                      <a16:colId xmlns:a16="http://schemas.microsoft.com/office/drawing/2014/main" val="3172851815"/>
                    </a:ext>
                  </a:extLst>
                </a:gridCol>
                <a:gridCol w="1693333">
                  <a:extLst>
                    <a:ext uri="{9D8B030D-6E8A-4147-A177-3AD203B41FA5}">
                      <a16:colId xmlns:a16="http://schemas.microsoft.com/office/drawing/2014/main" val="3158547336"/>
                    </a:ext>
                  </a:extLst>
                </a:gridCol>
                <a:gridCol w="2040467">
                  <a:extLst>
                    <a:ext uri="{9D8B030D-6E8A-4147-A177-3AD203B41FA5}">
                      <a16:colId xmlns:a16="http://schemas.microsoft.com/office/drawing/2014/main" val="2607218548"/>
                    </a:ext>
                  </a:extLst>
                </a:gridCol>
                <a:gridCol w="1550995">
                  <a:extLst>
                    <a:ext uri="{9D8B030D-6E8A-4147-A177-3AD203B41FA5}">
                      <a16:colId xmlns:a16="http://schemas.microsoft.com/office/drawing/2014/main" val="2518098549"/>
                    </a:ext>
                  </a:extLst>
                </a:gridCol>
              </a:tblGrid>
              <a:tr h="270889">
                <a:tc>
                  <a:txBody>
                    <a:bodyPr/>
                    <a:lstStyle/>
                    <a:p>
                      <a:r>
                        <a:rPr lang="de-DE" dirty="0"/>
                        <a:t>Karl Mar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erdinand Tönn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mile Durkhe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Georg Simm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ax We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888061"/>
                  </a:ext>
                </a:extLst>
              </a:tr>
              <a:tr h="2708892">
                <a:tc>
                  <a:txBody>
                    <a:bodyPr/>
                    <a:lstStyle/>
                    <a:p>
                      <a:r>
                        <a:rPr lang="de-DE" dirty="0"/>
                        <a:t>= Radikale </a:t>
                      </a:r>
                      <a:r>
                        <a:rPr lang="de-DE" b="1" dirty="0"/>
                        <a:t>Neugestaltung</a:t>
                      </a:r>
                      <a:r>
                        <a:rPr lang="de-DE" dirty="0"/>
                        <a:t> der sozialen Verhältnisse</a:t>
                      </a:r>
                    </a:p>
                    <a:p>
                      <a:endParaRPr lang="de-DE" dirty="0"/>
                    </a:p>
                    <a:p>
                      <a:r>
                        <a:rPr lang="de-DE" b="1" dirty="0"/>
                        <a:t>Trennung von Kopf und Handarbeit</a:t>
                      </a:r>
                    </a:p>
                    <a:p>
                      <a:r>
                        <a:rPr lang="de-DE" dirty="0"/>
                        <a:t>(Besitzende vs. Nichtbesitzende)</a:t>
                      </a:r>
                    </a:p>
                    <a:p>
                      <a:endParaRPr lang="de-DE" dirty="0"/>
                    </a:p>
                    <a:p>
                      <a:r>
                        <a:rPr lang="de-DE" b="1" dirty="0"/>
                        <a:t>Revolution</a:t>
                      </a:r>
                      <a:r>
                        <a:rPr lang="de-DE" dirty="0"/>
                        <a:t> als Zi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= Entwicklung von einem Gesellschafts-Typ</a:t>
                      </a:r>
                    </a:p>
                    <a:p>
                      <a:endParaRPr lang="de-DE" dirty="0"/>
                    </a:p>
                    <a:p>
                      <a:r>
                        <a:rPr lang="de-DE" strike="sngStrike" dirty="0"/>
                        <a:t>Von Beziehungen mit gemeinschaftlichen Charakter </a:t>
                      </a:r>
                      <a:r>
                        <a:rPr lang="de-DE" dirty="0"/>
                        <a:t>zu rational, sachbezogenem Handeln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= Übergang von </a:t>
                      </a:r>
                      <a:r>
                        <a:rPr lang="de-DE" b="0" dirty="0"/>
                        <a:t>zwei sehr konträrer Typen des Zusammenlebens</a:t>
                      </a:r>
                    </a:p>
                    <a:p>
                      <a:endParaRPr lang="de-DE" dirty="0"/>
                    </a:p>
                    <a:p>
                      <a:r>
                        <a:rPr lang="de-DE" dirty="0"/>
                        <a:t>Von „mechanischer Solidarität“ (= geringe Arbeitsteilung)</a:t>
                      </a:r>
                    </a:p>
                    <a:p>
                      <a:endParaRPr lang="de-DE" dirty="0"/>
                    </a:p>
                    <a:p>
                      <a:r>
                        <a:rPr lang="de-DE" dirty="0"/>
                        <a:t>Zu „organische Solidarität“ (= zunehmende Arbeitsteilung &amp; damit wachsende Abhängigke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= </a:t>
                      </a:r>
                      <a:r>
                        <a:rPr lang="de-DE" b="1" dirty="0"/>
                        <a:t>Schwächung</a:t>
                      </a:r>
                      <a:r>
                        <a:rPr lang="de-DE" dirty="0"/>
                        <a:t>/ Verlust traditioneller </a:t>
                      </a:r>
                      <a:r>
                        <a:rPr lang="de-DE" b="1" dirty="0"/>
                        <a:t>Zusammengehörigkeit</a:t>
                      </a:r>
                    </a:p>
                    <a:p>
                      <a:endParaRPr lang="de-DE" dirty="0"/>
                    </a:p>
                    <a:p>
                      <a:r>
                        <a:rPr lang="de-DE" b="1" dirty="0"/>
                        <a:t>Zunehmende</a:t>
                      </a:r>
                      <a:r>
                        <a:rPr lang="de-DE" dirty="0"/>
                        <a:t> gesellschaftliche </a:t>
                      </a:r>
                      <a:r>
                        <a:rPr lang="de-DE" b="1" dirty="0"/>
                        <a:t>Differenzierung</a:t>
                      </a:r>
                    </a:p>
                    <a:p>
                      <a:endParaRPr lang="de-DE" b="0" dirty="0"/>
                    </a:p>
                    <a:p>
                      <a:r>
                        <a:rPr lang="de-DE" b="0" dirty="0"/>
                        <a:t>Mehr </a:t>
                      </a:r>
                      <a:r>
                        <a:rPr lang="de-DE" b="1" dirty="0"/>
                        <a:t>Freiheitsgewinn</a:t>
                      </a:r>
                      <a:r>
                        <a:rPr lang="de-DE" b="0" dirty="0"/>
                        <a:t> des Individuums</a:t>
                      </a:r>
                    </a:p>
                    <a:p>
                      <a:endParaRPr lang="de-DE" b="0" dirty="0"/>
                    </a:p>
                    <a:p>
                      <a:r>
                        <a:rPr lang="de-DE" b="0" strike="sngStrike" dirty="0"/>
                        <a:t>Aber </a:t>
                      </a:r>
                      <a:r>
                        <a:rPr lang="de-DE" b="1" strike="sngStrike" dirty="0"/>
                        <a:t>kaum</a:t>
                      </a:r>
                      <a:r>
                        <a:rPr lang="de-DE" b="0" strike="sngStrike" dirty="0"/>
                        <a:t> noch </a:t>
                      </a:r>
                      <a:r>
                        <a:rPr lang="de-DE" b="1" strike="sngStrike" dirty="0"/>
                        <a:t>wesentliche Bindu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=  Zunehmende kognitive Beherrschung der Wirklichkeit durch R</a:t>
                      </a:r>
                      <a:r>
                        <a:rPr lang="de-DE" b="1" dirty="0"/>
                        <a:t>ationalisierung</a:t>
                      </a:r>
                      <a:r>
                        <a:rPr lang="de-DE" dirty="0"/>
                        <a:t> </a:t>
                      </a:r>
                    </a:p>
                    <a:p>
                      <a:endParaRPr lang="de-DE" dirty="0"/>
                    </a:p>
                    <a:p>
                      <a:r>
                        <a:rPr lang="de-DE" dirty="0"/>
                        <a:t>(„Entzauberung“= </a:t>
                      </a:r>
                      <a:r>
                        <a:rPr lang="de-DE" strike="sngStrike" dirty="0"/>
                        <a:t>Magie, Religion</a:t>
                      </a:r>
                      <a:r>
                        <a:rPr lang="de-DE" dirty="0"/>
                        <a:t>)</a:t>
                      </a:r>
                    </a:p>
                    <a:p>
                      <a:endParaRPr lang="de-DE" dirty="0"/>
                    </a:p>
                    <a:p>
                      <a:r>
                        <a:rPr lang="de-DE" dirty="0"/>
                        <a:t>Zunehmende Abstimmung der Mittel auf ihre Zwecke</a:t>
                      </a:r>
                    </a:p>
                    <a:p>
                      <a:endParaRPr lang="de-DE" dirty="0"/>
                    </a:p>
                    <a:p>
                      <a:r>
                        <a:rPr lang="de-DE" dirty="0"/>
                        <a:t>Pessimistischer Blick: Kritik an Bürokra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9421295"/>
                  </a:ext>
                </a:extLst>
              </a:tr>
            </a:tbl>
          </a:graphicData>
        </a:graphic>
      </p:graphicFrame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2BC414F-53AD-75E9-CB16-F505BB686EF0}"/>
              </a:ext>
            </a:extLst>
          </p:cNvPr>
          <p:cNvSpPr/>
          <p:nvPr/>
        </p:nvSpPr>
        <p:spPr>
          <a:xfrm>
            <a:off x="7383759" y="652987"/>
            <a:ext cx="1584036" cy="35464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Musterlösung</a:t>
            </a:r>
          </a:p>
        </p:txBody>
      </p:sp>
    </p:spTree>
    <p:extLst>
      <p:ext uri="{BB962C8B-B14F-4D97-AF65-F5344CB8AC3E}">
        <p14:creationId xmlns:p14="http://schemas.microsoft.com/office/powerpoint/2010/main" val="206755249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301815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Vier Perspektiven der Veränd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795439"/>
            <a:ext cx="8244000" cy="38219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altLang="de-DE" sz="1400" b="0" dirty="0">
                <a:cs typeface="Arial" panose="020B0604020202020204" pitchFamily="34" charset="0"/>
              </a:rPr>
              <a:t>van der Loo &amp; van </a:t>
            </a:r>
            <a:r>
              <a:rPr lang="de-DE" altLang="de-DE" sz="1400" b="0" dirty="0" err="1">
                <a:cs typeface="Arial" panose="020B0604020202020204" pitchFamily="34" charset="0"/>
              </a:rPr>
              <a:t>Reijen</a:t>
            </a:r>
            <a:r>
              <a:rPr lang="de-DE" altLang="de-DE" sz="1400" b="0" dirty="0">
                <a:cs typeface="Arial" panose="020B0604020202020204" pitchFamily="34" charset="0"/>
              </a:rPr>
              <a:t> (1997)</a:t>
            </a:r>
            <a:endParaRPr lang="de-DE" sz="1400" b="0" dirty="0"/>
          </a:p>
          <a:p>
            <a:pPr>
              <a:lnSpc>
                <a:spcPct val="100000"/>
              </a:lnSpc>
            </a:pPr>
            <a:r>
              <a:rPr lang="de-DE" sz="1800" b="0" dirty="0"/>
              <a:t>„</a:t>
            </a:r>
            <a:r>
              <a:rPr lang="de-DE" sz="1800" dirty="0"/>
              <a:t>Modernisierung</a:t>
            </a:r>
            <a:r>
              <a:rPr lang="de-DE" sz="1800" b="0" dirty="0"/>
              <a:t> = „</a:t>
            </a:r>
            <a:r>
              <a:rPr lang="de-DE" sz="1800" dirty="0"/>
              <a:t>Komplex“</a:t>
            </a:r>
            <a:r>
              <a:rPr lang="de-DE" sz="1800" b="0" dirty="0"/>
              <a:t> miteinander zusammenhängender                     </a:t>
            </a:r>
            <a:r>
              <a:rPr lang="de-DE" sz="1800" dirty="0"/>
              <a:t>1)</a:t>
            </a:r>
            <a:r>
              <a:rPr lang="de-DE" sz="1800" b="0" dirty="0"/>
              <a:t> </a:t>
            </a:r>
            <a:r>
              <a:rPr lang="de-DE" sz="1800" dirty="0"/>
              <a:t>struktureller, 2) kultureller,  3) psychischer und 4) physischer Veränderungen</a:t>
            </a:r>
            <a:r>
              <a:rPr lang="de-DE" sz="1800" b="0" dirty="0"/>
              <a:t>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Eng verbundene Perspektiven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 Modernisierung gegliedert in: </a:t>
            </a: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EC5ED2-96AA-B71D-D304-5C74D51DD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3600" y="2069196"/>
            <a:ext cx="2953655" cy="211299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4E5098C-0C3B-026B-F70E-97DA774BE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3533" y="2134913"/>
            <a:ext cx="2903722" cy="2047281"/>
          </a:xfrm>
          <a:prstGeom prst="rect">
            <a:avLst/>
          </a:prstGeom>
        </p:spPr>
      </p:pic>
      <p:pic>
        <p:nvPicPr>
          <p:cNvPr id="3" name="Grafik 2" descr="Ausrufezeichen mit einfarbiger Füllung">
            <a:extLst>
              <a:ext uri="{FF2B5EF4-FFF2-40B4-BE49-F238E27FC236}">
                <a16:creationId xmlns:a16="http://schemas.microsoft.com/office/drawing/2014/main" id="{7E2F0AC4-4612-4366-43C3-63E854FD56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77188" y="2962828"/>
            <a:ext cx="662400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95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229172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Vier Perspektiven der Veränd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7" y="630182"/>
            <a:ext cx="8494103" cy="397405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700" dirty="0"/>
              <a:t>1) Struktur</a:t>
            </a:r>
            <a:r>
              <a:rPr lang="de-DE" sz="1700" b="0" dirty="0"/>
              <a:t> = </a:t>
            </a:r>
            <a:r>
              <a:rPr lang="de-DE" sz="1700" dirty="0"/>
              <a:t>Differenzierungsprozess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/>
              <a:t>Entstehung neuer Einheiten durch Aufspaltungen des ursprünglich Ganzen </a:t>
            </a:r>
            <a:r>
              <a:rPr lang="de-DE" sz="1700" b="0" i="1" dirty="0"/>
              <a:t>z.B. wachsende Arbeitsteilung</a:t>
            </a:r>
          </a:p>
          <a:p>
            <a:pPr>
              <a:lnSpc>
                <a:spcPct val="100000"/>
              </a:lnSpc>
            </a:pPr>
            <a:r>
              <a:rPr lang="de-DE" sz="1700" dirty="0"/>
              <a:t>2) Kultur= Rational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/>
              <a:t>Zunehmende Systematisierung mit dem Ziel das Leben vorhersehbarer                         und beherrschbarer zu machen </a:t>
            </a:r>
            <a:r>
              <a:rPr lang="de-DE" sz="1700" b="0" i="1" dirty="0"/>
              <a:t>z.B. steigende Bürokratie</a:t>
            </a:r>
          </a:p>
          <a:p>
            <a:pPr>
              <a:lnSpc>
                <a:spcPct val="100000"/>
              </a:lnSpc>
            </a:pPr>
            <a:r>
              <a:rPr lang="de-DE" sz="1700" dirty="0"/>
              <a:t>3) Person</a:t>
            </a:r>
            <a:r>
              <a:rPr lang="de-DE" sz="1700" b="0" dirty="0"/>
              <a:t>= </a:t>
            </a:r>
            <a:r>
              <a:rPr lang="de-DE" sz="1700" dirty="0"/>
              <a:t>Individual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/>
              <a:t>Prozess der Freisetzung des Menschen aus gesell. Traditionen</a:t>
            </a:r>
            <a:endParaRPr lang="de-DE" sz="1700" b="0" i="1" dirty="0"/>
          </a:p>
          <a:p>
            <a:pPr>
              <a:lnSpc>
                <a:spcPct val="100000"/>
              </a:lnSpc>
            </a:pPr>
            <a:r>
              <a:rPr lang="de-DE" sz="1700" dirty="0"/>
              <a:t>4) Natur</a:t>
            </a:r>
            <a:r>
              <a:rPr lang="de-DE" sz="1700" b="0" dirty="0"/>
              <a:t>= </a:t>
            </a:r>
            <a:r>
              <a:rPr lang="de-DE" sz="1700" dirty="0"/>
              <a:t>Domestiz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/>
              <a:t>Zunehmende Beherrschung der Natur und gleichzeitige Abhängigkeit von technischen Umwelten</a:t>
            </a:r>
            <a:endParaRPr lang="de-DE" sz="17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E743C91-C8AD-C30E-AD38-324720C02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8703" y="-65164"/>
            <a:ext cx="1295400" cy="913327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4E8ADC5-D054-0EA8-3F70-647C142205D9}"/>
              </a:ext>
            </a:extLst>
          </p:cNvPr>
          <p:cNvSpPr txBox="1"/>
          <p:nvPr/>
        </p:nvSpPr>
        <p:spPr>
          <a:xfrm>
            <a:off x="7020000" y="3147880"/>
            <a:ext cx="2082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tx2"/>
                </a:solidFill>
              </a:rPr>
              <a:t>z.B. Kirchenjugend</a:t>
            </a:r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C92FFF-FE87-B310-C406-E320C64FA3E7}"/>
              </a:ext>
            </a:extLst>
          </p:cNvPr>
          <p:cNvSpPr txBox="1"/>
          <p:nvPr/>
        </p:nvSpPr>
        <p:spPr>
          <a:xfrm>
            <a:off x="3108398" y="4265687"/>
            <a:ext cx="3199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tx2"/>
                </a:solidFill>
              </a:rPr>
              <a:t>z.B. künstlich gebaute Badeseen</a:t>
            </a:r>
            <a:endParaRPr lang="de-DE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519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9862" y="1233553"/>
            <a:ext cx="5241471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br>
              <a:rPr lang="de-DE" dirty="0"/>
            </a:br>
            <a:r>
              <a:rPr lang="de-DE" b="1" dirty="0"/>
              <a:t>I: Differenzierung</a:t>
            </a:r>
            <a:br>
              <a:rPr lang="de-DE" b="1" dirty="0"/>
            </a:br>
            <a:r>
              <a:rPr lang="de-DE" b="1" dirty="0"/>
              <a:t>II: Individualisierung</a:t>
            </a:r>
            <a:br>
              <a:rPr lang="de-DE" dirty="0"/>
            </a:br>
            <a:r>
              <a:rPr lang="de-DE" dirty="0"/>
              <a:t>III: Domestizierung</a:t>
            </a:r>
            <a:br>
              <a:rPr lang="de-DE" dirty="0"/>
            </a:br>
            <a:r>
              <a:rPr lang="de-DE" dirty="0"/>
              <a:t>IIII: Rationalisierung</a:t>
            </a:r>
            <a:br>
              <a:rPr lang="de-DE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51521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1) Differenz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6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FD671D-34DF-3C72-BF32-992DFF0C5A4B}"/>
              </a:ext>
            </a:extLst>
          </p:cNvPr>
          <p:cNvSpPr txBox="1"/>
          <p:nvPr/>
        </p:nvSpPr>
        <p:spPr>
          <a:xfrm>
            <a:off x="708199" y="1246492"/>
            <a:ext cx="7727601" cy="923330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6D4CF5C-4CED-EB64-1F76-3156D3BA5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0776" y="71783"/>
            <a:ext cx="914447" cy="673135"/>
          </a:xfrm>
          <a:prstGeom prst="rect">
            <a:avLst/>
          </a:prstGeom>
        </p:spPr>
      </p:pic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7CE7E086-3D50-6181-49A8-C8B56A5DCC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040703"/>
            <a:ext cx="7563375" cy="13349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Differenzierung=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Individuen, Gruppen etc. </a:t>
            </a:r>
            <a:r>
              <a:rPr lang="de-DE" sz="1800" dirty="0"/>
              <a:t>spezialisieren</a:t>
            </a:r>
            <a:r>
              <a:rPr lang="de-DE" sz="1800" b="0" dirty="0"/>
              <a:t> sich untereinander auf gewisse </a:t>
            </a:r>
            <a:r>
              <a:rPr lang="de-DE" sz="1800" dirty="0"/>
              <a:t>Aktivitäten</a:t>
            </a:r>
            <a:r>
              <a:rPr lang="de-DE" sz="1800" b="0" dirty="0"/>
              <a:t> (</a:t>
            </a:r>
            <a:r>
              <a:rPr lang="de-DE" sz="1800" dirty="0"/>
              <a:t>Arbeitsteilung</a:t>
            </a:r>
            <a:r>
              <a:rPr lang="de-DE" sz="1800" b="0" dirty="0"/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rbeitsteilung schafft gleichzeitig Randordnung von Positionen (Berufe mit höhere gesell. Stellung vs. Berufe mit niedriger Stellung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48382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Differenz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7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644066"/>
            <a:ext cx="7563375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Folgen einer hochdifferenziellen Gesellschaft:</a:t>
            </a:r>
          </a:p>
          <a:p>
            <a:pPr>
              <a:lnSpc>
                <a:spcPct val="1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Realisiert </a:t>
            </a:r>
            <a:r>
              <a:rPr lang="de-DE" sz="1800" dirty="0">
                <a:sym typeface="Wingdings" panose="05000000000000000000" pitchFamily="2" charset="2"/>
              </a:rPr>
              <a:t>Spezialisierung</a:t>
            </a:r>
            <a:r>
              <a:rPr lang="de-DE" sz="1800" b="0" dirty="0">
                <a:sym typeface="Wingdings" panose="05000000000000000000" pitchFamily="2" charset="2"/>
              </a:rPr>
              <a:t> &amp; </a:t>
            </a:r>
            <a:r>
              <a:rPr lang="de-DE" sz="1800" dirty="0">
                <a:sym typeface="Wingdings" panose="05000000000000000000" pitchFamily="2" charset="2"/>
              </a:rPr>
              <a:t>Effizienz</a:t>
            </a:r>
            <a:r>
              <a:rPr lang="de-DE" sz="1800" b="0" dirty="0">
                <a:sym typeface="Wingdings" panose="05000000000000000000" pitchFamily="2" charset="2"/>
              </a:rPr>
              <a:t> durch Arbeitsteil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rmöglicht </a:t>
            </a:r>
            <a:r>
              <a:rPr lang="de-DE" sz="1800" dirty="0">
                <a:sym typeface="Wingdings" panose="05000000000000000000" pitchFamily="2" charset="2"/>
              </a:rPr>
              <a:t>neue Kooperationsform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Keine sozialen Unterschiede mehr durch Geburt, sondern Fokus auf wirtschaftliche Aspekte 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Nebenprodukt von Differenzierung ist erhöhter </a:t>
            </a:r>
            <a:r>
              <a:rPr lang="de-DE" sz="1800" dirty="0"/>
              <a:t>Koordinationsaufwand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Mehr </a:t>
            </a:r>
            <a:r>
              <a:rPr lang="de-DE" sz="1800" dirty="0"/>
              <a:t>Abhängigkeit</a:t>
            </a:r>
            <a:r>
              <a:rPr lang="de-DE" sz="1800" b="0" dirty="0"/>
              <a:t> der Menschen voneinander </a:t>
            </a:r>
            <a:r>
              <a:rPr lang="de-DE" sz="1800" b="0" dirty="0">
                <a:sym typeface="Wingdings" panose="05000000000000000000" pitchFamily="2" charset="2"/>
              </a:rPr>
              <a:t> mehr </a:t>
            </a:r>
            <a:r>
              <a:rPr lang="de-DE" sz="1800" dirty="0">
                <a:sym typeface="Wingdings" panose="05000000000000000000" pitchFamily="2" charset="2"/>
              </a:rPr>
              <a:t>(Selbst-) Beherrschung</a:t>
            </a:r>
            <a:r>
              <a:rPr lang="de-DE" sz="1800" b="0" dirty="0">
                <a:sym typeface="Wingdings" panose="05000000000000000000" pitchFamily="2" charset="2"/>
              </a:rPr>
              <a:t> notwendi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6D4CF5C-4CED-EB64-1F76-3156D3BA5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0776" y="71783"/>
            <a:ext cx="914447" cy="673135"/>
          </a:xfrm>
          <a:prstGeom prst="rect">
            <a:avLst/>
          </a:prstGeom>
        </p:spPr>
      </p:pic>
      <p:pic>
        <p:nvPicPr>
          <p:cNvPr id="2" name="Grafik 1" descr="Marke folgen mit einfarbiger Füllung">
            <a:extLst>
              <a:ext uri="{FF2B5EF4-FFF2-40B4-BE49-F238E27FC236}">
                <a16:creationId xmlns:a16="http://schemas.microsoft.com/office/drawing/2014/main" id="{A89FD85C-00EB-0A08-38B1-69920B15AD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400" y="1060051"/>
            <a:ext cx="457199" cy="457199"/>
          </a:xfrm>
          <a:prstGeom prst="rect">
            <a:avLst/>
          </a:prstGeom>
        </p:spPr>
      </p:pic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D23ADB76-8705-97AB-76C2-79F0C170B5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400" y="3041858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1193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2) Individu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722492"/>
            <a:ext cx="7563375" cy="381582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oraussetzung: </a:t>
            </a:r>
            <a:r>
              <a:rPr lang="de-DE" sz="1800" dirty="0"/>
              <a:t>„Individuum rückt in den Mittelpunkt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>
              <a:lnSpc>
                <a:spcPct val="100000"/>
              </a:lnSpc>
            </a:pPr>
            <a:r>
              <a:rPr lang="de-DE" sz="1800" b="0" dirty="0"/>
              <a:t>Phänomene: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/>
              <a:t>Freisetzung</a:t>
            </a:r>
            <a:r>
              <a:rPr lang="de-DE" sz="1800" b="0" dirty="0"/>
              <a:t> aus traditionellen </a:t>
            </a:r>
            <a:r>
              <a:rPr lang="de-DE" sz="1800" dirty="0"/>
              <a:t>Lebensformen</a:t>
            </a:r>
            <a:r>
              <a:rPr lang="de-DE" sz="1800" b="0" dirty="0"/>
              <a:t>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/>
              <a:t>Relativierung</a:t>
            </a:r>
            <a:r>
              <a:rPr lang="de-DE" sz="1800" b="0" dirty="0"/>
              <a:t> von traditionellen </a:t>
            </a:r>
            <a:r>
              <a:rPr lang="de-DE" sz="1800" dirty="0"/>
              <a:t>Werte &amp; Normen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/>
              <a:t>Neue</a:t>
            </a:r>
            <a:r>
              <a:rPr lang="de-DE" sz="1800" b="0" dirty="0"/>
              <a:t> Räume für </a:t>
            </a:r>
            <a:r>
              <a:rPr lang="de-DE" sz="1800" dirty="0"/>
              <a:t>Lebensgestaltung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DF859A-8067-151E-3ABB-01FF63170F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0547" y="93810"/>
            <a:ext cx="939848" cy="628682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3094BE0-EF0F-81BD-993B-B8FF8CB444E4}"/>
              </a:ext>
            </a:extLst>
          </p:cNvPr>
          <p:cNvSpPr/>
          <p:nvPr/>
        </p:nvSpPr>
        <p:spPr>
          <a:xfrm>
            <a:off x="930729" y="1153390"/>
            <a:ext cx="1833618" cy="27049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Selbstverantwortung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2FBFD83-3160-02BE-F06B-1E68DE94B0A5}"/>
              </a:ext>
            </a:extLst>
          </p:cNvPr>
          <p:cNvSpPr/>
          <p:nvPr/>
        </p:nvSpPr>
        <p:spPr>
          <a:xfrm>
            <a:off x="2953191" y="1153389"/>
            <a:ext cx="1833618" cy="27049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Klarhei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BD88881-B49F-A319-705C-E43AF709FCE5}"/>
              </a:ext>
            </a:extLst>
          </p:cNvPr>
          <p:cNvSpPr/>
          <p:nvPr/>
        </p:nvSpPr>
        <p:spPr>
          <a:xfrm>
            <a:off x="4975653" y="1121430"/>
            <a:ext cx="1833618" cy="27049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Rationalität</a:t>
            </a:r>
          </a:p>
        </p:txBody>
      </p:sp>
    </p:spTree>
    <p:extLst>
      <p:ext uri="{BB962C8B-B14F-4D97-AF65-F5344CB8AC3E}">
        <p14:creationId xmlns:p14="http://schemas.microsoft.com/office/powerpoint/2010/main" val="253087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1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2) Individualisierung: Sichtweisen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9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FD671D-34DF-3C72-BF32-992DFF0C5A4B}"/>
              </a:ext>
            </a:extLst>
          </p:cNvPr>
          <p:cNvSpPr txBox="1"/>
          <p:nvPr/>
        </p:nvSpPr>
        <p:spPr>
          <a:xfrm>
            <a:off x="324000" y="1227157"/>
            <a:ext cx="9044852" cy="3062377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indent="-342900">
              <a:buAutoNum type="arabicParenR"/>
            </a:pPr>
            <a:r>
              <a:rPr lang="de-DE" sz="1800" dirty="0">
                <a:solidFill>
                  <a:schemeClr val="tx2"/>
                </a:solidFill>
              </a:rPr>
              <a:t>Von der Selbstverleugnung zur </a:t>
            </a:r>
            <a:r>
              <a:rPr lang="de-DE" sz="1800" b="1" dirty="0">
                <a:solidFill>
                  <a:schemeClr val="tx2"/>
                </a:solidFill>
              </a:rPr>
              <a:t>Selbstentfal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Lösung aus drückenden Bind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Neue Bedürfnisorientierung hin zu  </a:t>
            </a:r>
            <a:r>
              <a:rPr lang="de-DE" sz="1800" b="1" dirty="0">
                <a:solidFill>
                  <a:schemeClr val="tx2"/>
                </a:solidFill>
              </a:rPr>
              <a:t>Bedürfnissen „höherer Ordnung</a:t>
            </a:r>
            <a:r>
              <a:rPr lang="de-DE" sz="1800" dirty="0">
                <a:solidFill>
                  <a:schemeClr val="tx2"/>
                </a:solidFill>
              </a:rPr>
              <a:t>“ </a:t>
            </a:r>
          </a:p>
          <a:p>
            <a:r>
              <a:rPr lang="de-DE" sz="1300" dirty="0">
                <a:solidFill>
                  <a:schemeClr val="tx2"/>
                </a:solidFill>
              </a:rPr>
              <a:t>z.B. </a:t>
            </a:r>
            <a:r>
              <a:rPr lang="de-DE" sz="1300" strike="sngStrike" dirty="0">
                <a:solidFill>
                  <a:schemeClr val="tx2"/>
                </a:solidFill>
              </a:rPr>
              <a:t>physische Bedürfnisse</a:t>
            </a:r>
            <a:r>
              <a:rPr lang="de-DE" sz="1300" dirty="0">
                <a:solidFill>
                  <a:schemeClr val="tx2"/>
                </a:solidFill>
              </a:rPr>
              <a:t>, Selbstverwirklichung</a:t>
            </a:r>
          </a:p>
          <a:p>
            <a:endParaRPr lang="de-DE" sz="1800" dirty="0">
              <a:solidFill>
                <a:schemeClr val="tx2"/>
              </a:solidFill>
            </a:endParaRPr>
          </a:p>
          <a:p>
            <a:r>
              <a:rPr lang="de-DE" sz="1800" dirty="0">
                <a:solidFill>
                  <a:schemeClr val="tx2"/>
                </a:solidFill>
              </a:rPr>
              <a:t>2) Moderne als </a:t>
            </a:r>
            <a:r>
              <a:rPr lang="de-DE" sz="1800" b="1" dirty="0">
                <a:solidFill>
                  <a:schemeClr val="tx2"/>
                </a:solidFill>
              </a:rPr>
              <a:t>Flickentepp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Ergänzende und widersprech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 Werte 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 </a:t>
            </a:r>
            <a:r>
              <a:rPr lang="de-DE" sz="1800" b="1" dirty="0">
                <a:solidFill>
                  <a:schemeClr val="tx2"/>
                </a:solidFill>
                <a:sym typeface="Wingdings" panose="05000000000000000000" pitchFamily="2" charset="2"/>
              </a:rPr>
              <a:t>Heterogenität</a:t>
            </a:r>
          </a:p>
          <a:p>
            <a:endParaRPr lang="de-DE" sz="1800" b="1" dirty="0">
              <a:solidFill>
                <a:schemeClr val="tx2"/>
              </a:solidFill>
            </a:endParaRPr>
          </a:p>
          <a:p>
            <a:pPr marL="342900" indent="-342900">
              <a:buAutoNum type="arabicParenR"/>
            </a:pPr>
            <a:r>
              <a:rPr lang="de-DE" sz="1800" b="1" dirty="0">
                <a:solidFill>
                  <a:schemeClr val="tx2"/>
                </a:solidFill>
              </a:rPr>
              <a:t>Mythos</a:t>
            </a:r>
            <a:r>
              <a:rPr lang="de-DE" sz="1800" dirty="0">
                <a:solidFill>
                  <a:schemeClr val="tx2"/>
                </a:solidFill>
              </a:rPr>
              <a:t> vom modernen Individu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Menschen „</a:t>
            </a:r>
            <a:r>
              <a:rPr lang="de-DE" sz="1800" b="1" dirty="0">
                <a:solidFill>
                  <a:schemeClr val="tx2"/>
                </a:solidFill>
              </a:rPr>
              <a:t>hirnlose</a:t>
            </a:r>
            <a:r>
              <a:rPr lang="de-DE" sz="1800" dirty="0">
                <a:solidFill>
                  <a:schemeClr val="tx2"/>
                </a:solidFill>
              </a:rPr>
              <a:t> und </a:t>
            </a:r>
            <a:r>
              <a:rPr lang="de-DE" sz="1800" dirty="0" err="1">
                <a:solidFill>
                  <a:schemeClr val="tx2"/>
                </a:solidFill>
              </a:rPr>
              <a:t>narzißtische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b="1" dirty="0" err="1">
                <a:solidFill>
                  <a:schemeClr val="tx2"/>
                </a:solidFill>
              </a:rPr>
              <a:t>Trendfolger</a:t>
            </a:r>
            <a:r>
              <a:rPr lang="de-DE" sz="1800" dirty="0">
                <a:solidFill>
                  <a:schemeClr val="tx2"/>
                </a:solidFill>
              </a:rPr>
              <a:t>“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Statt traditionellen Zwängen nun Zwänge von Arbeitsmarkt &amp; Konsum</a:t>
            </a:r>
          </a:p>
          <a:p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Unsicherheit &amp; </a:t>
            </a:r>
            <a:r>
              <a:rPr lang="de-DE" sz="1800" b="1" dirty="0">
                <a:solidFill>
                  <a:schemeClr val="tx2"/>
                </a:solidFill>
              </a:rPr>
              <a:t>Überforderung</a:t>
            </a:r>
            <a:r>
              <a:rPr lang="de-DE" sz="1800" dirty="0">
                <a:solidFill>
                  <a:schemeClr val="tx2"/>
                </a:solidFill>
              </a:rPr>
              <a:t> (Zwang sich Individualisieren zu müss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ED16781-B47F-78D1-2240-8EE8C7F3CC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0547" y="93810"/>
            <a:ext cx="939848" cy="628682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798AE63F-7BFF-192A-FF30-BEA132865633}"/>
              </a:ext>
            </a:extLst>
          </p:cNvPr>
          <p:cNvSpPr/>
          <p:nvPr/>
        </p:nvSpPr>
        <p:spPr>
          <a:xfrm>
            <a:off x="1476305" y="722492"/>
            <a:ext cx="1784439" cy="45062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Optimistische Sichtweise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9663797-00DB-FAB9-5493-A3FB9DFC2839}"/>
              </a:ext>
            </a:extLst>
          </p:cNvPr>
          <p:cNvSpPr/>
          <p:nvPr/>
        </p:nvSpPr>
        <p:spPr>
          <a:xfrm>
            <a:off x="5524844" y="659693"/>
            <a:ext cx="1784439" cy="45062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Pessimistische Sichtweise </a:t>
            </a:r>
          </a:p>
        </p:txBody>
      </p:sp>
    </p:spTree>
    <p:extLst>
      <p:ext uri="{BB962C8B-B14F-4D97-AF65-F5344CB8AC3E}">
        <p14:creationId xmlns:p14="http://schemas.microsoft.com/office/powerpoint/2010/main" val="3641611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529" y="1763325"/>
            <a:ext cx="5241471" cy="1175818"/>
          </a:xfrm>
        </p:spPr>
        <p:txBody>
          <a:bodyPr/>
          <a:lstStyle/>
          <a:p>
            <a:pPr algn="ctr"/>
            <a:r>
              <a:rPr lang="de-DE" dirty="0"/>
              <a:t>Sozialer Wandel (Kapitel 8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39553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13885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2) Individualisierung: Sichtweisen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FD671D-34DF-3C72-BF32-992DFF0C5A4B}"/>
              </a:ext>
            </a:extLst>
          </p:cNvPr>
          <p:cNvSpPr txBox="1"/>
          <p:nvPr/>
        </p:nvSpPr>
        <p:spPr>
          <a:xfrm>
            <a:off x="324000" y="620709"/>
            <a:ext cx="8743800" cy="3970318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de-DE" sz="1800" dirty="0">
                <a:solidFill>
                  <a:schemeClr val="tx2"/>
                </a:solidFill>
              </a:rPr>
              <a:t>                                                                   </a:t>
            </a:r>
            <a:r>
              <a:rPr lang="de-DE" sz="1200" dirty="0">
                <a:solidFill>
                  <a:schemeClr val="tx2"/>
                </a:solidFill>
              </a:rPr>
              <a:t>Ulrich Beck (1986)</a:t>
            </a:r>
          </a:p>
          <a:p>
            <a:endParaRPr lang="de-DE" sz="1800" b="1" dirty="0">
              <a:solidFill>
                <a:schemeClr val="tx2"/>
              </a:solidFill>
            </a:endParaRPr>
          </a:p>
          <a:p>
            <a:r>
              <a:rPr lang="de-DE" sz="1800" dirty="0">
                <a:solidFill>
                  <a:schemeClr val="tx2"/>
                </a:solidFill>
              </a:rPr>
              <a:t>Drei Dimensionen:</a:t>
            </a: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r>
              <a:rPr lang="de-DE" sz="1800" dirty="0">
                <a:solidFill>
                  <a:schemeClr val="tx2"/>
                </a:solidFill>
              </a:rPr>
              <a:t>             Entstehung von </a:t>
            </a:r>
            <a:r>
              <a:rPr lang="de-DE" sz="1800" b="1" dirty="0">
                <a:solidFill>
                  <a:schemeClr val="tx2"/>
                </a:solidFill>
              </a:rPr>
              <a:t>Wahlmöglichkeiten</a:t>
            </a:r>
            <a:r>
              <a:rPr lang="de-DE" sz="1800" dirty="0">
                <a:solidFill>
                  <a:schemeClr val="tx2"/>
                </a:solidFill>
              </a:rPr>
              <a:t> vs. Risiko des </a:t>
            </a:r>
            <a:r>
              <a:rPr lang="de-DE" sz="1800" b="1" dirty="0">
                <a:solidFill>
                  <a:schemeClr val="tx2"/>
                </a:solidFill>
              </a:rPr>
              <a:t>Wahlzwangs</a:t>
            </a:r>
          </a:p>
          <a:p>
            <a:r>
              <a:rPr lang="de-DE" sz="1800" dirty="0">
                <a:solidFill>
                  <a:schemeClr val="tx2"/>
                </a:solidFill>
              </a:rPr>
              <a:t>              Statt </a:t>
            </a:r>
            <a:r>
              <a:rPr lang="de-DE" sz="1800" strike="sngStrike" dirty="0">
                <a:solidFill>
                  <a:schemeClr val="tx2"/>
                </a:solidFill>
              </a:rPr>
              <a:t>Normalbiografien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 nun </a:t>
            </a:r>
            <a:r>
              <a:rPr lang="de-DE" sz="1800" b="1" dirty="0">
                <a:solidFill>
                  <a:schemeClr val="tx2"/>
                </a:solidFill>
                <a:sym typeface="Wingdings" panose="05000000000000000000" pitchFamily="2" charset="2"/>
              </a:rPr>
              <a:t>Patchwork-Biografie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 &amp; Selbstgestaltung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ED16781-B47F-78D1-2240-8EE8C7F3CC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0547" y="93810"/>
            <a:ext cx="939848" cy="628682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798AE63F-7BFF-192A-FF30-BEA132865633}"/>
              </a:ext>
            </a:extLst>
          </p:cNvPr>
          <p:cNvSpPr/>
          <p:nvPr/>
        </p:nvSpPr>
        <p:spPr>
          <a:xfrm>
            <a:off x="1326403" y="594052"/>
            <a:ext cx="3245597" cy="62868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Sichtweise des Risikos</a:t>
            </a:r>
          </a:p>
          <a:p>
            <a:pPr algn="ctr"/>
            <a:r>
              <a:rPr lang="de-DE" dirty="0"/>
              <a:t>(Brückenposition zwischen Pessimismus und Optimismus)</a:t>
            </a:r>
          </a:p>
        </p:txBody>
      </p:sp>
      <p:graphicFrame>
        <p:nvGraphicFramePr>
          <p:cNvPr id="6" name="Tabelle 9">
            <a:extLst>
              <a:ext uri="{FF2B5EF4-FFF2-40B4-BE49-F238E27FC236}">
                <a16:creationId xmlns:a16="http://schemas.microsoft.com/office/drawing/2014/main" id="{F3DB700A-5320-DA1F-E80C-53E5D61379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9645307"/>
              </p:ext>
            </p:extLst>
          </p:nvPr>
        </p:nvGraphicFramePr>
        <p:xfrm>
          <a:off x="576000" y="1576847"/>
          <a:ext cx="8244000" cy="2198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757">
                  <a:extLst>
                    <a:ext uri="{9D8B030D-6E8A-4147-A177-3AD203B41FA5}">
                      <a16:colId xmlns:a16="http://schemas.microsoft.com/office/drawing/2014/main" val="1942544805"/>
                    </a:ext>
                  </a:extLst>
                </a:gridCol>
                <a:gridCol w="5475243">
                  <a:extLst>
                    <a:ext uri="{9D8B030D-6E8A-4147-A177-3AD203B41FA5}">
                      <a16:colId xmlns:a16="http://schemas.microsoft.com/office/drawing/2014/main" val="3958173898"/>
                    </a:ext>
                  </a:extLst>
                </a:gridCol>
              </a:tblGrid>
              <a:tr h="284882">
                <a:tc>
                  <a:txBody>
                    <a:bodyPr/>
                    <a:lstStyle/>
                    <a:p>
                      <a:r>
                        <a:rPr lang="de-DE" sz="1500" dirty="0"/>
                        <a:t>Dimensio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955024"/>
                  </a:ext>
                </a:extLst>
              </a:tr>
              <a:tr h="482109">
                <a:tc>
                  <a:txBody>
                    <a:bodyPr/>
                    <a:lstStyle/>
                    <a:p>
                      <a:r>
                        <a:rPr lang="de-DE" sz="1500" b="0" dirty="0"/>
                        <a:t>1. Freisetzungsdimension</a:t>
                      </a:r>
                    </a:p>
                    <a:p>
                      <a:r>
                        <a:rPr lang="de-DE" sz="1500" b="0" dirty="0"/>
                        <a:t>(positi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3035053"/>
                  </a:ext>
                </a:extLst>
              </a:tr>
              <a:tr h="650473">
                <a:tc>
                  <a:txBody>
                    <a:bodyPr/>
                    <a:lstStyle/>
                    <a:p>
                      <a:r>
                        <a:rPr lang="de-DE" sz="1500" b="0" dirty="0"/>
                        <a:t>2. Entzauberungsdimension</a:t>
                      </a:r>
                    </a:p>
                    <a:p>
                      <a:r>
                        <a:rPr lang="de-DE" sz="1500" b="0" dirty="0"/>
                        <a:t>(herausfordern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0044824"/>
                  </a:ext>
                </a:extLst>
              </a:tr>
              <a:tr h="679335">
                <a:tc>
                  <a:txBody>
                    <a:bodyPr/>
                    <a:lstStyle/>
                    <a:p>
                      <a:r>
                        <a:rPr lang="de-DE" sz="1500" b="0" dirty="0"/>
                        <a:t>3. Kontroll- und Reintegrationsdim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9770311"/>
                  </a:ext>
                </a:extLst>
              </a:tr>
            </a:tbl>
          </a:graphicData>
        </a:graphic>
      </p:graphicFrame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7EF9748C-2F38-D5C1-D22F-C1005C73F7DC}"/>
              </a:ext>
            </a:extLst>
          </p:cNvPr>
          <p:cNvCxnSpPr>
            <a:cxnSpLocks/>
          </p:cNvCxnSpPr>
          <p:nvPr/>
        </p:nvCxnSpPr>
        <p:spPr>
          <a:xfrm>
            <a:off x="720000" y="4017214"/>
            <a:ext cx="406529" cy="27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2798D281-144E-18BE-4143-97A64C35100C}"/>
              </a:ext>
            </a:extLst>
          </p:cNvPr>
          <p:cNvSpPr txBox="1"/>
          <p:nvPr/>
        </p:nvSpPr>
        <p:spPr>
          <a:xfrm>
            <a:off x="3399481" y="1917262"/>
            <a:ext cx="52709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Freisetzung</a:t>
            </a:r>
            <a:r>
              <a:rPr lang="de-DE" sz="1400" dirty="0"/>
              <a:t> von </a:t>
            </a:r>
            <a:r>
              <a:rPr lang="de-DE" sz="1400" b="1" dirty="0"/>
              <a:t>traditionellen Sozialformen </a:t>
            </a:r>
            <a:r>
              <a:rPr lang="de-DE" sz="1400" dirty="0"/>
              <a:t>und Bindungen </a:t>
            </a:r>
          </a:p>
          <a:p>
            <a:r>
              <a:rPr lang="de-DE" sz="1400" i="1" dirty="0"/>
              <a:t>z.B. Stände und Klassen (Herkunft durch Geburt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E3947E0-CAA8-EA6D-D4B3-0F240A5FE337}"/>
              </a:ext>
            </a:extLst>
          </p:cNvPr>
          <p:cNvSpPr txBox="1"/>
          <p:nvPr/>
        </p:nvSpPr>
        <p:spPr>
          <a:xfrm>
            <a:off x="3354157" y="2440482"/>
            <a:ext cx="59337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Verlust</a:t>
            </a:r>
            <a:r>
              <a:rPr lang="de-DE" sz="1400" dirty="0"/>
              <a:t> von traditionellen Sicherheiten bei </a:t>
            </a:r>
            <a:r>
              <a:rPr lang="de-DE" sz="1400" b="1" dirty="0"/>
              <a:t>Normen &amp;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/>
              <a:t>Glaubenssätz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i="1" dirty="0"/>
              <a:t>z.B. religiöse Tradition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45F250-F7AE-5B58-E34F-5CC6B71C95FF}"/>
              </a:ext>
            </a:extLst>
          </p:cNvPr>
          <p:cNvSpPr txBox="1"/>
          <p:nvPr/>
        </p:nvSpPr>
        <p:spPr>
          <a:xfrm>
            <a:off x="3354157" y="3171583"/>
            <a:ext cx="59337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Neue Arten der </a:t>
            </a:r>
            <a:r>
              <a:rPr lang="de-DE" sz="1400" b="1" dirty="0"/>
              <a:t>Wiedereinbindung</a:t>
            </a:r>
            <a:r>
              <a:rPr lang="de-DE" sz="1400" dirty="0"/>
              <a:t> durch </a:t>
            </a:r>
            <a:r>
              <a:rPr lang="de-DE" sz="1400" b="1" dirty="0"/>
              <a:t>Institutionen</a:t>
            </a:r>
          </a:p>
          <a:p>
            <a:r>
              <a:rPr lang="de-DE" sz="1400" i="1" dirty="0"/>
              <a:t>z.B. Bindung ins Bildungssystem mit Schulpflicht</a:t>
            </a:r>
          </a:p>
        </p:txBody>
      </p:sp>
      <p:pic>
        <p:nvPicPr>
          <p:cNvPr id="14" name="Grafik 13" descr="Ausrufezeichen mit einfarbiger Füllung">
            <a:extLst>
              <a:ext uri="{FF2B5EF4-FFF2-40B4-BE49-F238E27FC236}">
                <a16:creationId xmlns:a16="http://schemas.microsoft.com/office/drawing/2014/main" id="{99848D17-4F5F-7791-3787-5D6D236F98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0117" y="474774"/>
            <a:ext cx="486156" cy="48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97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/>
      <p:bldP spid="9" grpId="0"/>
      <p:bldP spid="11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Individu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722492"/>
            <a:ext cx="8494104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rmöglicht große </a:t>
            </a:r>
            <a:r>
              <a:rPr lang="de-DE" sz="1800" dirty="0">
                <a:sym typeface="Wingdings" panose="05000000000000000000" pitchFamily="2" charset="2"/>
              </a:rPr>
              <a:t>Selbständigkeit</a:t>
            </a:r>
            <a:r>
              <a:rPr lang="de-DE" sz="1800" b="0" dirty="0">
                <a:sym typeface="Wingdings" panose="05000000000000000000" pitchFamily="2" charset="2"/>
              </a:rPr>
              <a:t> und </a:t>
            </a:r>
            <a:r>
              <a:rPr lang="de-DE" sz="1800" dirty="0">
                <a:sym typeface="Wingdings" panose="05000000000000000000" pitchFamily="2" charset="2"/>
              </a:rPr>
              <a:t>Handlungsfreiheit</a:t>
            </a:r>
          </a:p>
          <a:p>
            <a:pPr>
              <a:lnSpc>
                <a:spcPct val="100000"/>
              </a:lnSpc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Zwang</a:t>
            </a:r>
            <a:r>
              <a:rPr lang="de-DE" sz="1800" b="0" dirty="0"/>
              <a:t> Entscheidungen treffen zu müss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Mögliche </a:t>
            </a:r>
            <a:r>
              <a:rPr lang="de-DE" sz="1800" dirty="0"/>
              <a:t>Orientierungslosigkeit</a:t>
            </a:r>
            <a:r>
              <a:rPr lang="de-DE" sz="1800" b="0" dirty="0"/>
              <a:t> durch fehlende Halt von trad. Institutionen und Werten &amp; </a:t>
            </a:r>
            <a:r>
              <a:rPr lang="de-DE" sz="1800" dirty="0"/>
              <a:t>Anonymitä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Kann der Individualisierung nicht entkommen (</a:t>
            </a:r>
            <a:r>
              <a:rPr lang="de-DE" sz="1800" dirty="0"/>
              <a:t>Gewinner vs. Verlierer</a:t>
            </a:r>
            <a:r>
              <a:rPr lang="de-DE" sz="1800" b="0" dirty="0"/>
              <a:t>)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 </a:t>
            </a: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 Fazit moderne Gesellschaft: </a:t>
            </a:r>
            <a:r>
              <a:rPr lang="de-DE" sz="1800" b="0" strike="sngStrike" dirty="0">
                <a:sym typeface="Wingdings" panose="05000000000000000000" pitchFamily="2" charset="2"/>
              </a:rPr>
              <a:t>Satt Kollektiv</a:t>
            </a:r>
            <a:r>
              <a:rPr lang="de-DE" sz="1800" b="0" dirty="0">
                <a:sym typeface="Wingdings" panose="05000000000000000000" pitchFamily="2" charset="2"/>
              </a:rPr>
              <a:t>, nun Individuum an erster Stel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6D4CF5C-4CED-EB64-1F76-3156D3BA5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0776" y="71783"/>
            <a:ext cx="914447" cy="673135"/>
          </a:xfrm>
          <a:prstGeom prst="rect">
            <a:avLst/>
          </a:prstGeom>
        </p:spPr>
      </p:pic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7400" y="1492458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7400" y="669437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7835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262200"/>
            <a:ext cx="7560000" cy="468000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de-DE" sz="2800" dirty="0"/>
              <a:t>Individualisierung und soziale Ungleichheit</a:t>
            </a:r>
            <a:br>
              <a:rPr lang="de-DE" sz="2800" b="0" dirty="0"/>
            </a:b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2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8DE16BD-7D73-695A-4D49-2D041D78A0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49836"/>
            <a:ext cx="8568496" cy="2952328"/>
          </a:xfrm>
        </p:spPr>
        <p:txBody>
          <a:bodyPr/>
          <a:lstStyle/>
          <a:p>
            <a:r>
              <a:rPr lang="de-DE" sz="1400" b="0" dirty="0"/>
              <a:t>Ulrich Beck (1986)                        </a:t>
            </a:r>
            <a:r>
              <a:rPr lang="de-DE" sz="2000" b="0" dirty="0"/>
              <a:t>„Fahrstuhleffekt?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Über </a:t>
            </a:r>
            <a:r>
              <a:rPr lang="de-DE" sz="1800" dirty="0"/>
              <a:t>alle Schichten </a:t>
            </a:r>
            <a:r>
              <a:rPr lang="de-DE" sz="1800" b="0" dirty="0"/>
              <a:t>hinweg relativen (</a:t>
            </a:r>
            <a:r>
              <a:rPr lang="de-DE" sz="1800" dirty="0"/>
              <a:t>besseren) Wohlstand</a:t>
            </a:r>
            <a:r>
              <a:rPr lang="de-DE" sz="1800" b="0" dirty="0"/>
              <a:t>/Lebensstandards </a:t>
            </a:r>
          </a:p>
          <a:p>
            <a:r>
              <a:rPr lang="de-DE" sz="1800" b="0" dirty="0">
                <a:sym typeface="Wingdings" panose="05000000000000000000" pitchFamily="2" charset="2"/>
              </a:rPr>
              <a:t>alle fahren im Wohlstand paar Stockwerke nach oben</a:t>
            </a:r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„Allen geht es relativ gut“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800" dirty="0">
                <a:sym typeface="Wingdings" panose="05000000000000000000" pitchFamily="2" charset="2"/>
              </a:rPr>
              <a:t>Abstände</a:t>
            </a:r>
            <a:r>
              <a:rPr lang="de-DE" sz="1800" b="0" dirty="0">
                <a:sym typeface="Wingdings" panose="05000000000000000000" pitchFamily="2" charset="2"/>
              </a:rPr>
              <a:t> zwischen Stockwerken </a:t>
            </a:r>
            <a:r>
              <a:rPr lang="de-DE" sz="1800" dirty="0">
                <a:sym typeface="Wingdings" panose="05000000000000000000" pitchFamily="2" charset="2"/>
              </a:rPr>
              <a:t>bleiben jedoch bestehen</a:t>
            </a:r>
          </a:p>
          <a:p>
            <a:pPr algn="ctr"/>
            <a:r>
              <a:rPr lang="de-DE" b="0" i="1" dirty="0"/>
              <a:t>Arbeiter kann sich kleines Häuschen leisten </a:t>
            </a:r>
          </a:p>
          <a:p>
            <a:pPr algn="ctr"/>
            <a:r>
              <a:rPr lang="de-DE" b="0" i="1" dirty="0"/>
              <a:t>Firmenchef kann sich Villa in Spanien kaufen</a:t>
            </a:r>
          </a:p>
          <a:p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Soziale Ungleichheit ist nicht mehr so bewusst- ist dennoch vorhanden</a:t>
            </a:r>
          </a:p>
          <a:p>
            <a:pPr algn="ctr"/>
            <a:endParaRPr lang="de-DE" sz="1800" b="0" i="1" dirty="0"/>
          </a:p>
          <a:p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1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675770E-3B13-997B-92BD-B7F391053571}"/>
              </a:ext>
            </a:extLst>
          </p:cNvPr>
          <p:cNvCxnSpPr>
            <a:cxnSpLocks/>
          </p:cNvCxnSpPr>
          <p:nvPr/>
        </p:nvCxnSpPr>
        <p:spPr>
          <a:xfrm>
            <a:off x="7196826" y="1779662"/>
            <a:ext cx="497124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2F8F145-CC75-E25B-BDAA-7A0438653E9B}"/>
              </a:ext>
            </a:extLst>
          </p:cNvPr>
          <p:cNvCxnSpPr>
            <a:cxnSpLocks/>
          </p:cNvCxnSpPr>
          <p:nvPr/>
        </p:nvCxnSpPr>
        <p:spPr>
          <a:xfrm>
            <a:off x="7196826" y="1995686"/>
            <a:ext cx="497124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C28030F-FEB5-5276-5735-6F221464BC00}"/>
              </a:ext>
            </a:extLst>
          </p:cNvPr>
          <p:cNvCxnSpPr>
            <a:cxnSpLocks/>
          </p:cNvCxnSpPr>
          <p:nvPr/>
        </p:nvCxnSpPr>
        <p:spPr>
          <a:xfrm>
            <a:off x="7196826" y="2228478"/>
            <a:ext cx="497124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3C73CEF7-30EF-0290-7A2D-A682DAFC511F}"/>
              </a:ext>
            </a:extLst>
          </p:cNvPr>
          <p:cNvCxnSpPr>
            <a:cxnSpLocks/>
          </p:cNvCxnSpPr>
          <p:nvPr/>
        </p:nvCxnSpPr>
        <p:spPr>
          <a:xfrm>
            <a:off x="7171220" y="1563638"/>
            <a:ext cx="497124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F1A3DD0-22FF-7073-D9BE-758962F7EE94}"/>
              </a:ext>
            </a:extLst>
          </p:cNvPr>
          <p:cNvCxnSpPr/>
          <p:nvPr/>
        </p:nvCxnSpPr>
        <p:spPr>
          <a:xfrm flipH="1">
            <a:off x="7606616" y="1995686"/>
            <a:ext cx="432048" cy="144016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9AECB445-61A3-BF2C-80A4-5F75B6C1DD9B}"/>
              </a:ext>
            </a:extLst>
          </p:cNvPr>
          <p:cNvCxnSpPr>
            <a:cxnSpLocks/>
          </p:cNvCxnSpPr>
          <p:nvPr/>
        </p:nvCxnSpPr>
        <p:spPr>
          <a:xfrm flipH="1" flipV="1">
            <a:off x="7668344" y="1839654"/>
            <a:ext cx="381780" cy="156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DB6CC0F-369E-A06A-1AE3-018728BCFB22}"/>
              </a:ext>
            </a:extLst>
          </p:cNvPr>
          <p:cNvCxnSpPr>
            <a:cxnSpLocks/>
          </p:cNvCxnSpPr>
          <p:nvPr/>
        </p:nvCxnSpPr>
        <p:spPr>
          <a:xfrm flipH="1" flipV="1">
            <a:off x="6725308" y="1824050"/>
            <a:ext cx="440137" cy="99628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0EDB3E7-86CA-C2CB-9649-871ACB512969}"/>
              </a:ext>
            </a:extLst>
          </p:cNvPr>
          <p:cNvCxnSpPr>
            <a:cxnSpLocks/>
          </p:cNvCxnSpPr>
          <p:nvPr/>
        </p:nvCxnSpPr>
        <p:spPr>
          <a:xfrm flipV="1">
            <a:off x="6725308" y="1676997"/>
            <a:ext cx="471518" cy="120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42052C5-4474-1B89-A3A1-0B6A1ACC2E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9690" y="2152627"/>
            <a:ext cx="497123" cy="763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30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fünfte Sitzung I VL. (8) und (</a:t>
            </a:r>
            <a:r>
              <a:rPr lang="de-DE"/>
              <a:t>9) und (10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3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450000" y="735543"/>
            <a:ext cx="8873410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wurde heute erarbeitet…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Verschiedene </a:t>
            </a:r>
            <a:r>
              <a:rPr lang="de-DE" sz="1800" b="1" dirty="0">
                <a:solidFill>
                  <a:schemeClr val="tx2"/>
                </a:solidFill>
              </a:rPr>
              <a:t>Definitionen</a:t>
            </a:r>
            <a:r>
              <a:rPr lang="de-DE" sz="1800" dirty="0">
                <a:solidFill>
                  <a:schemeClr val="tx2"/>
                </a:solidFill>
              </a:rPr>
              <a:t> vom </a:t>
            </a:r>
            <a:r>
              <a:rPr lang="de-DE" sz="1800" b="1" dirty="0">
                <a:solidFill>
                  <a:schemeClr val="tx2"/>
                </a:solidFill>
              </a:rPr>
              <a:t>sozialen Wandel </a:t>
            </a:r>
            <a:r>
              <a:rPr lang="de-DE" sz="1800" dirty="0">
                <a:solidFill>
                  <a:schemeClr val="tx2"/>
                </a:solidFill>
              </a:rPr>
              <a:t>wissen und ihre Verbindungen</a:t>
            </a:r>
            <a:endParaRPr lang="de-DE" sz="1800" b="1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theoretische und methodologisch-empirische Probleme </a:t>
            </a:r>
            <a:r>
              <a:rPr lang="de-DE" sz="1800" dirty="0">
                <a:solidFill>
                  <a:schemeClr val="tx2"/>
                </a:solidFill>
              </a:rPr>
              <a:t>der Forschung 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Modernisierung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b="1" dirty="0">
                <a:solidFill>
                  <a:schemeClr val="tx2"/>
                </a:solidFill>
              </a:rPr>
              <a:t>definieren</a:t>
            </a:r>
            <a:r>
              <a:rPr lang="de-DE" sz="1800" dirty="0">
                <a:solidFill>
                  <a:schemeClr val="tx2"/>
                </a:solidFill>
              </a:rPr>
              <a:t> und vom sozialen Wandel unterscheid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Einwände</a:t>
            </a:r>
            <a:r>
              <a:rPr lang="de-DE" sz="1800" dirty="0">
                <a:solidFill>
                  <a:schemeClr val="tx2"/>
                </a:solidFill>
              </a:rPr>
              <a:t> und </a:t>
            </a:r>
            <a:r>
              <a:rPr lang="de-DE" sz="1800" b="1" dirty="0">
                <a:solidFill>
                  <a:schemeClr val="tx2"/>
                </a:solidFill>
              </a:rPr>
              <a:t>Mehrwert</a:t>
            </a:r>
            <a:r>
              <a:rPr lang="de-DE" sz="1800" dirty="0">
                <a:solidFill>
                  <a:schemeClr val="tx2"/>
                </a:solidFill>
              </a:rPr>
              <a:t> des Begriffs abgrenz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Vier</a:t>
            </a:r>
            <a:r>
              <a:rPr lang="de-DE" sz="1800" dirty="0">
                <a:solidFill>
                  <a:schemeClr val="tx2"/>
                </a:solidFill>
              </a:rPr>
              <a:t> verschiedene </a:t>
            </a:r>
            <a:r>
              <a:rPr lang="de-DE" sz="1800" b="1" dirty="0">
                <a:solidFill>
                  <a:schemeClr val="tx2"/>
                </a:solidFill>
              </a:rPr>
              <a:t>soziologische Perspektiven </a:t>
            </a:r>
            <a:r>
              <a:rPr lang="de-DE" sz="1800" dirty="0">
                <a:solidFill>
                  <a:schemeClr val="tx2"/>
                </a:solidFill>
              </a:rPr>
              <a:t>von Modernisierung(</a:t>
            </a:r>
            <a:r>
              <a:rPr lang="de-DE" sz="1800" dirty="0" err="1">
                <a:solidFill>
                  <a:schemeClr val="tx2"/>
                </a:solidFill>
              </a:rPr>
              <a:t>sprozessen</a:t>
            </a:r>
            <a:r>
              <a:rPr lang="de-DE" sz="1800" dirty="0">
                <a:solidFill>
                  <a:schemeClr val="tx2"/>
                </a:solidFill>
              </a:rPr>
              <a:t>) voneinander </a:t>
            </a:r>
            <a:r>
              <a:rPr lang="de-DE" sz="1800" b="1" dirty="0">
                <a:solidFill>
                  <a:schemeClr val="tx2"/>
                </a:solidFill>
              </a:rPr>
              <a:t>unterscheid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 err="1">
                <a:solidFill>
                  <a:schemeClr val="tx2"/>
                </a:solidFill>
              </a:rPr>
              <a:t>Ambivalox</a:t>
            </a:r>
            <a:r>
              <a:rPr lang="de-DE" sz="1800" b="1" dirty="0">
                <a:solidFill>
                  <a:schemeClr val="tx2"/>
                </a:solidFill>
              </a:rPr>
              <a:t> der vier Perspektiven erklären</a:t>
            </a:r>
            <a:r>
              <a:rPr lang="de-DE" sz="1800" dirty="0">
                <a:solidFill>
                  <a:schemeClr val="tx2"/>
                </a:solidFill>
              </a:rPr>
              <a:t> können</a:t>
            </a: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4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2534027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Perspektiven der </a:t>
            </a:r>
            <a:r>
              <a:rPr lang="de-DE" sz="1800" b="1" dirty="0">
                <a:solidFill>
                  <a:schemeClr val="tx2"/>
                </a:solidFill>
              </a:rPr>
              <a:t>Modernisierung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(III: Rationalisierung)</a:t>
            </a:r>
            <a:br>
              <a:rPr lang="de-DE" sz="1800" dirty="0">
                <a:solidFill>
                  <a:schemeClr val="tx2"/>
                </a:solidFill>
              </a:rPr>
            </a:b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(</a:t>
            </a:r>
            <a:r>
              <a:rPr lang="de-DE" sz="1800">
                <a:solidFill>
                  <a:schemeClr val="tx2"/>
                </a:solidFill>
              </a:rPr>
              <a:t>IIII: Domestizierung)</a:t>
            </a: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Modernisierung</a:t>
            </a: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er Wandel: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35396"/>
            <a:ext cx="8581857" cy="4308103"/>
          </a:xfrm>
        </p:spPr>
        <p:txBody>
          <a:bodyPr/>
          <a:lstStyle/>
          <a:p>
            <a:pPr marL="0" lvl="2" indent="0">
              <a:buNone/>
            </a:pPr>
            <a:r>
              <a:rPr lang="de-DE" altLang="de-DE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F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</a:p>
          <a:p>
            <a:pPr marL="0" lvl="2" indent="0">
              <a:buNone/>
            </a:pP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„(1) Bezeichnung für die </a:t>
            </a:r>
            <a:r>
              <a:rPr lang="de-DE" altLang="de-DE" b="1" dirty="0">
                <a:latin typeface="Arial" panose="020B0604020202020204" pitchFamily="34" charset="0"/>
                <a:cs typeface="Arial" panose="020B0604020202020204" pitchFamily="34" charset="0"/>
              </a:rPr>
              <a:t>regelhafte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, nicht notwendig kausale, </a:t>
            </a:r>
            <a:r>
              <a:rPr lang="de-DE" altLang="de-DE" b="1" dirty="0">
                <a:latin typeface="Arial" panose="020B0604020202020204" pitchFamily="34" charset="0"/>
                <a:cs typeface="Arial" panose="020B0604020202020204" pitchFamily="34" charset="0"/>
              </a:rPr>
              <a:t>zeitliche Abfolge von sozialen Handlungen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, die von routinemäßigen Tätigkeitsfolgen verschieden sind. </a:t>
            </a:r>
          </a:p>
          <a:p>
            <a:pPr marL="0" lvl="2" indent="0">
              <a:buNone/>
            </a:pP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 (2) Allgemeine Bezeichnung für die in einem Zeitabschnitt erfolgten </a:t>
            </a:r>
            <a:r>
              <a:rPr lang="de-DE" altLang="de-DE" b="1" dirty="0">
                <a:latin typeface="Arial" panose="020B0604020202020204" pitchFamily="34" charset="0"/>
                <a:cs typeface="Arial" panose="020B0604020202020204" pitchFamily="34" charset="0"/>
              </a:rPr>
              <a:t>Veränderungen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 in einer </a:t>
            </a:r>
            <a:r>
              <a:rPr lang="de-DE" altLang="de-DE" b="1" dirty="0">
                <a:latin typeface="Arial" panose="020B0604020202020204" pitchFamily="34" charset="0"/>
                <a:cs typeface="Arial" panose="020B0604020202020204" pitchFamily="34" charset="0"/>
              </a:rPr>
              <a:t>Sozialstruktur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.“   </a:t>
            </a:r>
            <a:r>
              <a:rPr lang="de-DE" altLang="de-DE" sz="1050" dirty="0">
                <a:latin typeface="Arial" panose="020B0604020202020204" pitchFamily="34" charset="0"/>
                <a:cs typeface="Arial" panose="020B0604020202020204" pitchFamily="34" charset="0"/>
              </a:rPr>
              <a:t>Fuchs-Heinritz et al. (2007)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Zu merken:</a:t>
            </a:r>
          </a:p>
          <a:p>
            <a:pPr>
              <a:lnSpc>
                <a:spcPct val="100000"/>
              </a:lnSpc>
            </a:pPr>
            <a:endParaRPr lang="de-DE" b="0" dirty="0"/>
          </a:p>
          <a:p>
            <a:pPr>
              <a:lnSpc>
                <a:spcPct val="100000"/>
              </a:lnSpc>
            </a:pPr>
            <a:r>
              <a:rPr lang="de-DE" b="0" dirty="0">
                <a:highlight>
                  <a:srgbClr val="FFFF00"/>
                </a:highlight>
              </a:rPr>
              <a:t>DEF</a:t>
            </a:r>
            <a:r>
              <a:rPr lang="de-DE" b="0" dirty="0"/>
              <a:t> = „Kann als die </a:t>
            </a:r>
            <a:r>
              <a:rPr lang="de-DE" dirty="0"/>
              <a:t>prozessuale Veränderung der Sozialstruktur </a:t>
            </a:r>
            <a:r>
              <a:rPr lang="de-DE" b="0" dirty="0"/>
              <a:t>einer Gesellschaft in ihren </a:t>
            </a:r>
            <a:r>
              <a:rPr lang="de-DE" dirty="0"/>
              <a:t>grundlegenden Institutionen, Kulturmustern, zugehörigen sozialen Handlungen und Bewusstseinsinhalten </a:t>
            </a:r>
            <a:r>
              <a:rPr lang="de-DE" b="0" dirty="0"/>
              <a:t>verstanden werden“ </a:t>
            </a:r>
            <a:r>
              <a:rPr lang="de-DE" sz="1100" b="0" dirty="0"/>
              <a:t>Zapf (2018)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Zu merken: 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C1F24AB-6A10-2A0C-E21F-420B31C1D1A7}"/>
              </a:ext>
            </a:extLst>
          </p:cNvPr>
          <p:cNvSpPr/>
          <p:nvPr/>
        </p:nvSpPr>
        <p:spPr>
          <a:xfrm>
            <a:off x="1796838" y="2220685"/>
            <a:ext cx="1773676" cy="4680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Zusammenhang zur Sozialstruktur</a:t>
            </a:r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42383C0-6A0B-2D1D-6231-F6A5EB7A3695}"/>
              </a:ext>
            </a:extLst>
          </p:cNvPr>
          <p:cNvSpPr/>
          <p:nvPr/>
        </p:nvSpPr>
        <p:spPr>
          <a:xfrm>
            <a:off x="3799812" y="2220684"/>
            <a:ext cx="1773676" cy="46808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edeutung zeitlicher Ordnung</a:t>
            </a:r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46671CA2-8450-A50B-9895-FFDB4D3B386D}"/>
              </a:ext>
            </a:extLst>
          </p:cNvPr>
          <p:cNvSpPr/>
          <p:nvPr/>
        </p:nvSpPr>
        <p:spPr>
          <a:xfrm>
            <a:off x="1796838" y="3840401"/>
            <a:ext cx="3025535" cy="46808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(relativ) stabile Regelmäßigkeiten </a:t>
            </a:r>
          </a:p>
          <a:p>
            <a:pPr algn="ctr"/>
            <a:r>
              <a:rPr lang="de-DE" b="1" dirty="0"/>
              <a:t>des sozialen Lebens</a:t>
            </a:r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F0284E5C-A6E0-1C74-C3F6-EF6FB57307FA}"/>
              </a:ext>
            </a:extLst>
          </p:cNvPr>
          <p:cNvSpPr/>
          <p:nvPr/>
        </p:nvSpPr>
        <p:spPr>
          <a:xfrm>
            <a:off x="5002465" y="3840401"/>
            <a:ext cx="3025535" cy="468087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(schwierige) Veränderungen der gesell. Ord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5154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4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er Wandel: Ebene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35397"/>
            <a:ext cx="8795600" cy="4308103"/>
          </a:xfrm>
        </p:spPr>
        <p:txBody>
          <a:bodyPr/>
          <a:lstStyle/>
          <a:p>
            <a:pPr marL="0" lvl="2" indent="0">
              <a:buNone/>
            </a:pP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Fünf Ebenen 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nach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Zapf (2018)</a:t>
            </a:r>
          </a:p>
          <a:p>
            <a:pPr marL="0" lvl="2" indent="0">
              <a:buNone/>
            </a:pP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2" indent="-342900">
              <a:lnSpc>
                <a:spcPct val="150000"/>
              </a:lnSpc>
              <a:buAutoNum type="arabicParenR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Ebene des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Individuums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im 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sozialen Handeln (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Mikro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lvl="2" indent="-342900">
              <a:lnSpc>
                <a:spcPct val="150000"/>
              </a:lnSpc>
              <a:buAutoNum type="arabicParenR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Intermediäre Ebene der Gruppen und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Organisationen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Meso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lvl="2" indent="-342900">
              <a:lnSpc>
                <a:spcPct val="150000"/>
              </a:lnSpc>
              <a:buAutoNum type="arabicParenR"/>
            </a:pP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Makroebene der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Gesamtgesellschaft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Makro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lvl="2" indent="-342900">
              <a:lnSpc>
                <a:spcPct val="150000"/>
              </a:lnSpc>
              <a:buAutoNum type="arabicParenR"/>
            </a:pP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Einstellung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sebenen (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Wertewandel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lvl="2" indent="-342900">
              <a:lnSpc>
                <a:spcPct val="150000"/>
              </a:lnSpc>
              <a:buAutoNum type="arabicParenR"/>
            </a:pP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Zivilisation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sebene (über Nationalgesellschaft hinaus- Blick auf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Weltgesellschaft</a:t>
            </a: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2" indent="-342900">
              <a:buAutoNum type="arabicParenR"/>
            </a:pPr>
            <a:endParaRPr 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Können Gesellschaft aus verschiedensten Ebene betrachten</a:t>
            </a: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276991465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17897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er Wandel: Dimensione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35396"/>
            <a:ext cx="8581857" cy="4308103"/>
          </a:xfrm>
        </p:spPr>
        <p:txBody>
          <a:bodyPr/>
          <a:lstStyle/>
          <a:p>
            <a:pPr marL="0" lvl="2" indent="0">
              <a:buNone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Vier Dimensionen nach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Zapf (2018)</a:t>
            </a: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0CF6E46B-0D8C-D8FF-C687-D2D03AF307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9546836"/>
              </p:ext>
            </p:extLst>
          </p:nvPr>
        </p:nvGraphicFramePr>
        <p:xfrm>
          <a:off x="575999" y="1190958"/>
          <a:ext cx="8455858" cy="3133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4334">
                  <a:extLst>
                    <a:ext uri="{9D8B030D-6E8A-4147-A177-3AD203B41FA5}">
                      <a16:colId xmlns:a16="http://schemas.microsoft.com/office/drawing/2014/main" val="2652265324"/>
                    </a:ext>
                  </a:extLst>
                </a:gridCol>
                <a:gridCol w="4106334">
                  <a:extLst>
                    <a:ext uri="{9D8B030D-6E8A-4147-A177-3AD203B41FA5}">
                      <a16:colId xmlns:a16="http://schemas.microsoft.com/office/drawing/2014/main" val="2960244420"/>
                    </a:ext>
                  </a:extLst>
                </a:gridCol>
                <a:gridCol w="3105190">
                  <a:extLst>
                    <a:ext uri="{9D8B030D-6E8A-4147-A177-3AD203B41FA5}">
                      <a16:colId xmlns:a16="http://schemas.microsoft.com/office/drawing/2014/main" val="2244990116"/>
                    </a:ext>
                  </a:extLst>
                </a:gridCol>
              </a:tblGrid>
              <a:tr h="299175">
                <a:tc>
                  <a:txBody>
                    <a:bodyPr/>
                    <a:lstStyle/>
                    <a:p>
                      <a:r>
                        <a:rPr lang="de-DE" dirty="0"/>
                        <a:t>Dimen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ess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i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0111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em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Zeitlichkeit und Geschwindigkeit von sozialem Wandels: </a:t>
                      </a:r>
                    </a:p>
                    <a:p>
                      <a:r>
                        <a:rPr lang="de-DE" dirty="0"/>
                        <a:t>Messbar durch: </a:t>
                      </a:r>
                      <a:r>
                        <a:rPr lang="de-DE" b="1" dirty="0"/>
                        <a:t>chronologische Zeiteinhei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83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iefga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ie tief ist Wandel? Nur Teilbereiche betroffen oder grundlegender gesell. Wandel </a:t>
                      </a:r>
                    </a:p>
                    <a:p>
                      <a:r>
                        <a:rPr lang="de-DE" dirty="0"/>
                        <a:t>Messbar durch: </a:t>
                      </a:r>
                      <a:r>
                        <a:rPr lang="de-DE" b="1" dirty="0"/>
                        <a:t>Quantität</a:t>
                      </a:r>
                      <a:r>
                        <a:rPr lang="de-DE" dirty="0"/>
                        <a:t> betroffener </a:t>
                      </a:r>
                      <a:r>
                        <a:rPr lang="de-DE" b="1" dirty="0"/>
                        <a:t>Einhei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1892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ich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Messbar durch: </a:t>
                      </a:r>
                      <a:r>
                        <a:rPr lang="de-DE" b="1"/>
                        <a:t>typische Verlaufsmuster </a:t>
                      </a:r>
                      <a:r>
                        <a:rPr lang="de-DE"/>
                        <a:t>wie </a:t>
                      </a:r>
                      <a:r>
                        <a:rPr lang="de-DE">
                          <a:sym typeface="Wingdings" panose="05000000000000000000" pitchFamily="2" charset="2"/>
                        </a:rPr>
                        <a:t> linear, zyklische Schwankungen, exponential, Stadien-Modelle etc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862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euerbark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essbar durch: </a:t>
                      </a:r>
                      <a:r>
                        <a:rPr lang="de-DE" b="1" dirty="0"/>
                        <a:t>Geplanter</a:t>
                      </a:r>
                      <a:r>
                        <a:rPr lang="de-DE" dirty="0"/>
                        <a:t> </a:t>
                      </a:r>
                      <a:r>
                        <a:rPr lang="de-DE" i="1" dirty="0"/>
                        <a:t>oder</a:t>
                      </a:r>
                      <a:r>
                        <a:rPr lang="de-DE" dirty="0"/>
                        <a:t> </a:t>
                      </a:r>
                      <a:r>
                        <a:rPr lang="de-DE" b="1" dirty="0"/>
                        <a:t>ungeplanter Wandel </a:t>
                      </a:r>
                      <a:r>
                        <a:rPr lang="de-DE" dirty="0"/>
                        <a:t>und Nebenfolgen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9240280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F8CF851A-51FE-D81E-F23B-7EC2A915BD04}"/>
              </a:ext>
            </a:extLst>
          </p:cNvPr>
          <p:cNvSpPr txBox="1"/>
          <p:nvPr/>
        </p:nvSpPr>
        <p:spPr>
          <a:xfrm>
            <a:off x="5935133" y="1540933"/>
            <a:ext cx="26924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.B. (unerwartet) </a:t>
            </a:r>
            <a:r>
              <a:rPr lang="de-DE" u="sng" dirty="0"/>
              <a:t>schneller</a:t>
            </a:r>
            <a:r>
              <a:rPr lang="de-DE" dirty="0"/>
              <a:t> Wandel durch Corona Pandemi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9ABC3B8-8757-DF71-FC12-E928DA1695F3}"/>
              </a:ext>
            </a:extLst>
          </p:cNvPr>
          <p:cNvSpPr txBox="1"/>
          <p:nvPr/>
        </p:nvSpPr>
        <p:spPr>
          <a:xfrm>
            <a:off x="5919068" y="2213959"/>
            <a:ext cx="3238788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.B. Bildungsexpansion in 1960er beeinflusste gesamte Gesellschaft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„Wissensgesellschaft“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FB9648E-58A5-0D3B-2977-BBD9586C21A0}"/>
              </a:ext>
            </a:extLst>
          </p:cNvPr>
          <p:cNvSpPr txBox="1"/>
          <p:nvPr/>
        </p:nvSpPr>
        <p:spPr>
          <a:xfrm>
            <a:off x="5919068" y="2867490"/>
            <a:ext cx="3073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.B. Einteilung der Gesellschaft in drei </a:t>
            </a:r>
            <a:r>
              <a:rPr lang="de-DE" u="sng" dirty="0"/>
              <a:t>Stadien</a:t>
            </a:r>
            <a:r>
              <a:rPr lang="de-DE" dirty="0"/>
              <a:t>: 1) Frühmoderne </a:t>
            </a:r>
          </a:p>
          <a:p>
            <a:r>
              <a:rPr lang="de-DE" dirty="0"/>
              <a:t>2) Hochmoderne 3) Spätmoderne</a:t>
            </a: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F905D68-E591-A401-C624-46145F6C5A6D}"/>
              </a:ext>
            </a:extLst>
          </p:cNvPr>
          <p:cNvSpPr txBox="1"/>
          <p:nvPr/>
        </p:nvSpPr>
        <p:spPr>
          <a:xfrm>
            <a:off x="5900324" y="3594751"/>
            <a:ext cx="30734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.B. Kontaktbeschränkungen durch Corona </a:t>
            </a:r>
            <a:r>
              <a:rPr lang="de-DE" dirty="0">
                <a:sym typeface="Wingdings" panose="05000000000000000000" pitchFamily="2" charset="2"/>
              </a:rPr>
              <a:t> gewandeltes (</a:t>
            </a:r>
            <a:r>
              <a:rPr lang="de-DE" u="sng" dirty="0">
                <a:sym typeface="Wingdings" panose="05000000000000000000" pitchFamily="2" charset="2"/>
              </a:rPr>
              <a:t>ungeplantes</a:t>
            </a:r>
            <a:r>
              <a:rPr lang="de-DE" dirty="0">
                <a:sym typeface="Wingdings" panose="05000000000000000000" pitchFamily="2" charset="2"/>
              </a:rPr>
              <a:t>) Verständnis von Homeoffice Arb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669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7" grpId="0"/>
      <p:bldP spid="8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er Wandel: Begriffsfindu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35397"/>
            <a:ext cx="8773629" cy="4308103"/>
          </a:xfrm>
        </p:spPr>
        <p:txBody>
          <a:bodyPr/>
          <a:lstStyle/>
          <a:p>
            <a:pPr marL="0" lvl="2" indent="0">
              <a:buNone/>
            </a:pP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Warum den Begriff?</a:t>
            </a:r>
          </a:p>
          <a:p>
            <a:pPr marL="0" lvl="2" indent="0">
              <a:buNone/>
            </a:pP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lnSpc>
                <a:spcPct val="150000"/>
              </a:lnSpc>
              <a:buNone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u wertend &amp; normativ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lnSpc>
                <a:spcPct val="150000"/>
              </a:lnSpc>
              <a:buNone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eigt eine vermeintlich (zu starke) angegebene Richtung </a:t>
            </a:r>
          </a:p>
          <a:p>
            <a:pPr marL="0" lvl="2" indent="0">
              <a:lnSpc>
                <a:spcPct val="150000"/>
              </a:lnSpc>
              <a:buNone/>
            </a:pPr>
            <a:r>
              <a:rPr 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                                           beschreibt </a:t>
            </a:r>
            <a:r>
              <a:rPr lang="de-DE" altLang="de-DE" sz="1800" dirty="0">
                <a:cs typeface="Arial" panose="020B0604020202020204" pitchFamily="34" charset="0"/>
              </a:rPr>
              <a:t>signifikante Veränderungen relevanter                      </a:t>
            </a:r>
            <a:r>
              <a:rPr lang="de-DE" altLang="de-DE" sz="1800" dirty="0">
                <a:solidFill>
                  <a:schemeClr val="bg1"/>
                </a:solidFill>
                <a:cs typeface="Arial" panose="020B0604020202020204" pitchFamily="34" charset="0"/>
              </a:rPr>
              <a:t>.     </a:t>
            </a:r>
            <a:r>
              <a:rPr lang="de-DE" altLang="de-DE" sz="1800" dirty="0">
                <a:cs typeface="Arial" panose="020B0604020202020204" pitchFamily="34" charset="0"/>
              </a:rPr>
              <a:t>                                          Elemente eines Sozialsystems bzw. Sozialstruktur</a:t>
            </a:r>
            <a:endParaRPr 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63B03B44-3425-A281-56B2-2166C157D8CA}"/>
              </a:ext>
            </a:extLst>
          </p:cNvPr>
          <p:cNvSpPr/>
          <p:nvPr/>
        </p:nvSpPr>
        <p:spPr>
          <a:xfrm>
            <a:off x="1835521" y="1526668"/>
            <a:ext cx="1168937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Fortschritt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9AA0819-B20B-0278-6068-186C9BE8D6D6}"/>
              </a:ext>
            </a:extLst>
          </p:cNvPr>
          <p:cNvSpPr/>
          <p:nvPr/>
        </p:nvSpPr>
        <p:spPr>
          <a:xfrm>
            <a:off x="450000" y="1988226"/>
            <a:ext cx="255445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300" dirty="0"/>
              <a:t>Evolutions- Entwicklungsbegriff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2A2CB79-9189-29FD-BF06-B0085DCB94E8}"/>
              </a:ext>
            </a:extLst>
          </p:cNvPr>
          <p:cNvSpPr/>
          <p:nvPr/>
        </p:nvSpPr>
        <p:spPr>
          <a:xfrm>
            <a:off x="468000" y="2523019"/>
            <a:ext cx="2554459" cy="34152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/>
              <a:t>Sozialer Wandel</a:t>
            </a:r>
          </a:p>
        </p:txBody>
      </p:sp>
      <p:pic>
        <p:nvPicPr>
          <p:cNvPr id="8" name="Grafik 7" descr="Marke Kreuz mit einfarbiger Füllung">
            <a:extLst>
              <a:ext uri="{FF2B5EF4-FFF2-40B4-BE49-F238E27FC236}">
                <a16:creationId xmlns:a16="http://schemas.microsoft.com/office/drawing/2014/main" id="{39DE8061-E6C1-1A60-F7B5-83CA38147F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353" y="1462384"/>
            <a:ext cx="403627" cy="403627"/>
          </a:xfrm>
          <a:prstGeom prst="rect">
            <a:avLst/>
          </a:prstGeom>
        </p:spPr>
      </p:pic>
      <p:pic>
        <p:nvPicPr>
          <p:cNvPr id="9" name="Grafik 8" descr="Marke Kreuz mit einfarbiger Füllung">
            <a:extLst>
              <a:ext uri="{FF2B5EF4-FFF2-40B4-BE49-F238E27FC236}">
                <a16:creationId xmlns:a16="http://schemas.microsoft.com/office/drawing/2014/main" id="{937C345C-FFD4-30EF-E810-4921AF376E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371" y="1949416"/>
            <a:ext cx="403627" cy="403627"/>
          </a:xfrm>
          <a:prstGeom prst="rect">
            <a:avLst/>
          </a:prstGeom>
        </p:spPr>
      </p:pic>
      <p:pic>
        <p:nvPicPr>
          <p:cNvPr id="11" name="Grafik 10" descr="Abzeichen Tick1 mit einfarbiger Füllung">
            <a:extLst>
              <a:ext uri="{FF2B5EF4-FFF2-40B4-BE49-F238E27FC236}">
                <a16:creationId xmlns:a16="http://schemas.microsoft.com/office/drawing/2014/main" id="{E167CE48-87AF-D636-4851-0D4D06F76A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019" y="2494064"/>
            <a:ext cx="399431" cy="39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530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8100000" cy="468000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Theoretische und methodologisch-empirische Probleme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7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777733"/>
            <a:ext cx="8568000" cy="38219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Schwierigkeiten bei der Erforschung </a:t>
            </a:r>
            <a:r>
              <a:rPr lang="de-DE" altLang="de-DE" sz="1200" b="0" dirty="0">
                <a:latin typeface="Arial" panose="020B0604020202020204" pitchFamily="34" charset="0"/>
                <a:cs typeface="Arial" panose="020B0604020202020204" pitchFamily="34" charset="0"/>
              </a:rPr>
              <a:t>Jäger &amp; Weinzierl (2007)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Veränderungen überhaupt 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als solche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identifiziere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können</a:t>
            </a:r>
          </a:p>
          <a:p>
            <a:pPr marL="519750" lvl="2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zu müssen stabile Zustände in der Vergangenheit festgemacht werden</a:t>
            </a:r>
          </a:p>
          <a:p>
            <a:pPr marL="519750" lvl="2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„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estimmung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er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genwart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urch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utung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er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rgangenheit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</a:p>
          <a:p>
            <a:pPr lvl="2" indent="0">
              <a:lnSpc>
                <a:spcPct val="100000"/>
              </a:lnSpc>
              <a:buNone/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stattgefundenen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Ereignisse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lassen sich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nicht unmittelbar Folgen ablesen </a:t>
            </a:r>
          </a:p>
          <a:p>
            <a:pPr marL="519750" lvl="2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.B. Erfindung Anti-Baby Pille unklar, dass Folge starker Geburtenrückgang ist</a:t>
            </a:r>
          </a:p>
          <a:p>
            <a:pPr lvl="2" indent="0">
              <a:lnSpc>
                <a:spcPct val="100000"/>
              </a:lnSpc>
              <a:buNone/>
            </a:pP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3) Sozialer Wandel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cht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ufhaltbar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nd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lanbar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4) Sozialer Wandel eher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iellos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ausgerichtet und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aum gestaltbar </a:t>
            </a: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61749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529" y="1763325"/>
            <a:ext cx="5241471" cy="1175818"/>
          </a:xfrm>
        </p:spPr>
        <p:txBody>
          <a:bodyPr/>
          <a:lstStyle/>
          <a:p>
            <a:pPr algn="ctr"/>
            <a:r>
              <a:rPr lang="de-DE" dirty="0"/>
              <a:t>Modernisierung (Kapitel 9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1071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391500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sbegriff: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9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930024"/>
            <a:ext cx="8568000" cy="3821976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tstammt 19 Jhd. westliche Gesellschaft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= multidimensionale, ambivalenter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twicklungsprozesse in dem sich vielseitige Veränderungen </a:t>
            </a:r>
            <a:r>
              <a:rPr lang="de-DE" altLang="de-DE" sz="1800" i="1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o</a:t>
            </a:r>
            <a:r>
              <a:rPr lang="de-DE" altLang="de-DE" sz="1800" i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evolutiv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vollzieh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ränderungen auf Langfristigkeit ausgeleg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urozentristisches Denken (Westeuropa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wei Idealtypen zur Abgrenzung: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) Tradition 2) Moderne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odernisierung: </a:t>
            </a: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A4533D2F-ABAE-6B17-5B20-67DE5CF01B6C}"/>
              </a:ext>
            </a:extLst>
          </p:cNvPr>
          <p:cNvSpPr/>
          <p:nvPr/>
        </p:nvSpPr>
        <p:spPr>
          <a:xfrm>
            <a:off x="2589013" y="3784867"/>
            <a:ext cx="1278382" cy="2717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Urbanisierung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504218D8-091B-A4F7-E34E-1B682A4D23FB}"/>
              </a:ext>
            </a:extLst>
          </p:cNvPr>
          <p:cNvSpPr/>
          <p:nvPr/>
        </p:nvSpPr>
        <p:spPr>
          <a:xfrm>
            <a:off x="3941204" y="3488782"/>
            <a:ext cx="1684262" cy="271718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Massenproduktion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4182616-E33A-2E97-90CF-62A423AA459D}"/>
              </a:ext>
            </a:extLst>
          </p:cNvPr>
          <p:cNvSpPr/>
          <p:nvPr/>
        </p:nvSpPr>
        <p:spPr>
          <a:xfrm>
            <a:off x="3973021" y="3841899"/>
            <a:ext cx="1652445" cy="2717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Demokratisierung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8EF12BA-8E49-8E6D-46DE-F6A73C3A4E17}"/>
              </a:ext>
            </a:extLst>
          </p:cNvPr>
          <p:cNvSpPr/>
          <p:nvPr/>
        </p:nvSpPr>
        <p:spPr>
          <a:xfrm>
            <a:off x="2319270" y="3378554"/>
            <a:ext cx="1546930" cy="2717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Individualisier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1188126-E254-9DD8-F266-41C2975266C5}"/>
              </a:ext>
            </a:extLst>
          </p:cNvPr>
          <p:cNvSpPr/>
          <p:nvPr/>
        </p:nvSpPr>
        <p:spPr>
          <a:xfrm>
            <a:off x="5700470" y="3488782"/>
            <a:ext cx="2029597" cy="3531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Bedeutungsverlust Religion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BADA581-22B8-DB56-B959-409225AB6DE1}"/>
              </a:ext>
            </a:extLst>
          </p:cNvPr>
          <p:cNvSpPr/>
          <p:nvPr/>
        </p:nvSpPr>
        <p:spPr>
          <a:xfrm>
            <a:off x="5731092" y="3941759"/>
            <a:ext cx="2125975" cy="3531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Bildungsentwicklung etc.</a:t>
            </a:r>
          </a:p>
        </p:txBody>
      </p:sp>
    </p:spTree>
    <p:extLst>
      <p:ext uri="{BB962C8B-B14F-4D97-AF65-F5344CB8AC3E}">
        <p14:creationId xmlns:p14="http://schemas.microsoft.com/office/powerpoint/2010/main" val="1753963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  <p:bldP spid="7" grpId="0" animBg="1"/>
      <p:bldP spid="8" grpId="0" animBg="1"/>
      <p:bldP spid="10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3</Words>
  <Application>Microsoft Office PowerPoint</Application>
  <PresentationFormat>Bildschirmpräsentation (16:9)</PresentationFormat>
  <Paragraphs>384</Paragraphs>
  <Slides>24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Calibri</vt:lpstr>
      <vt:lpstr>Calibri-Bold</vt:lpstr>
      <vt:lpstr>Wingdings</vt:lpstr>
      <vt:lpstr>PowerPoint Master RUB</vt:lpstr>
      <vt:lpstr>Tutorium zur VL. Sitzung (8), (9) und (Beginn von 10)</vt:lpstr>
      <vt:lpstr>Sozialer Wandel (Kapitel 8)</vt:lpstr>
      <vt:lpstr>Sozialer Wandel:</vt:lpstr>
      <vt:lpstr>Sozialer Wandel: Ebenen</vt:lpstr>
      <vt:lpstr>Sozialer Wandel: Dimensionen</vt:lpstr>
      <vt:lpstr>Sozialer Wandel: Begriffsfindung</vt:lpstr>
      <vt:lpstr>Theoretische und methodologisch-empirische Probleme</vt:lpstr>
      <vt:lpstr>Modernisierung (Kapitel 9)</vt:lpstr>
      <vt:lpstr>Modernisierungsbegriff:</vt:lpstr>
      <vt:lpstr>Soziologische Klassiker der Modernisierungsanalyse</vt:lpstr>
      <vt:lpstr>Soziologische Klassiker der Modernisierungsanalyse:</vt:lpstr>
      <vt:lpstr>Soziologische Klassiker der Modernisierungsanalyse:</vt:lpstr>
      <vt:lpstr>Vier Perspektiven der Veränderung</vt:lpstr>
      <vt:lpstr>Vier Perspektiven der Veränderung</vt:lpstr>
      <vt:lpstr>Modernisierung:  I: Differenzierung II: Individualisierung III: Domestizierung IIII: Rationalisierung </vt:lpstr>
      <vt:lpstr>1) Differenzierung</vt:lpstr>
      <vt:lpstr>1) Ambivalox der Differenzierung</vt:lpstr>
      <vt:lpstr>2) Individualisierung</vt:lpstr>
      <vt:lpstr>2) Individualisierung: Sichtweisen</vt:lpstr>
      <vt:lpstr>2) Individualisierung: Sichtweisen</vt:lpstr>
      <vt:lpstr>1) Ambivalox der Individualisierung</vt:lpstr>
      <vt:lpstr>Individualisierung und soziale Ungleichheit </vt:lpstr>
      <vt:lpstr>Lernziele: fünfte Sitzung I VL. (8) und (9) und (10)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3</cp:revision>
  <cp:lastPrinted>2022-04-21T15:49:35Z</cp:lastPrinted>
  <dcterms:created xsi:type="dcterms:W3CDTF">2020-06-22T16:14:58Z</dcterms:created>
  <dcterms:modified xsi:type="dcterms:W3CDTF">2022-11-22T13:17:46Z</dcterms:modified>
</cp:coreProperties>
</file>